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728" r:id="rId2"/>
    <p:sldId id="2609" r:id="rId3"/>
    <p:sldId id="2713" r:id="rId4"/>
    <p:sldId id="2737" r:id="rId5"/>
    <p:sldId id="2714" r:id="rId6"/>
    <p:sldId id="2710" r:id="rId7"/>
    <p:sldId id="2715" r:id="rId8"/>
    <p:sldId id="2716" r:id="rId9"/>
    <p:sldId id="2745" r:id="rId10"/>
    <p:sldId id="2717" r:id="rId11"/>
    <p:sldId id="2709" r:id="rId12"/>
    <p:sldId id="2721" r:id="rId13"/>
    <p:sldId id="2702" r:id="rId14"/>
    <p:sldId id="2722" r:id="rId15"/>
    <p:sldId id="2746" r:id="rId16"/>
    <p:sldId id="2723" r:id="rId17"/>
    <p:sldId id="2730" r:id="rId18"/>
    <p:sldId id="2742" r:id="rId19"/>
    <p:sldId id="2741" r:id="rId20"/>
    <p:sldId id="2743" r:id="rId21"/>
    <p:sldId id="2736" r:id="rId22"/>
    <p:sldId id="2731" r:id="rId23"/>
    <p:sldId id="2733" r:id="rId24"/>
    <p:sldId id="2734" r:id="rId25"/>
    <p:sldId id="2735" r:id="rId26"/>
    <p:sldId id="2747" r:id="rId27"/>
    <p:sldId id="2748" r:id="rId28"/>
    <p:sldId id="2749" r:id="rId29"/>
    <p:sldId id="2726" r:id="rId30"/>
    <p:sldId id="2727" r:id="rId31"/>
    <p:sldId id="2732" r:id="rId32"/>
    <p:sldId id="2738" r:id="rId33"/>
    <p:sldId id="2729" r:id="rId34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200"/>
    <a:srgbClr val="A7FE02"/>
    <a:srgbClr val="D9D9D9"/>
    <a:srgbClr val="FBE5D6"/>
    <a:srgbClr val="DAE3F3"/>
    <a:srgbClr val="0070C0"/>
    <a:srgbClr val="404040"/>
    <a:srgbClr val="ED7D31"/>
    <a:srgbClr val="7F7F7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6391" autoAdjust="0"/>
  </p:normalViewPr>
  <p:slideViewPr>
    <p:cSldViewPr>
      <p:cViewPr>
        <p:scale>
          <a:sx n="75" d="100"/>
          <a:sy n="75" d="100"/>
        </p:scale>
        <p:origin x="1470" y="8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A2ECB-DA5F-437A-B9F3-C9D77C53C88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7410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6-28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7592897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425094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5130850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99882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503676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28376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746300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73104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7069025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087884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3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47830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19387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3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458975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3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266552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3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28849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192671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81843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97784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95661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7893795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1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9348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78280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시작페이지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488903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119336" y="5061006"/>
            <a:ext cx="9577064" cy="1625026"/>
            <a:chOff x="479376" y="5373216"/>
            <a:chExt cx="6264696" cy="1625026"/>
          </a:xfrm>
        </p:grpSpPr>
        <p:sp>
          <p:nvSpPr>
            <p:cNvPr id="14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5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  <p:sp>
        <p:nvSpPr>
          <p:cNvPr id="1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0"/>
            <a:ext cx="12192000" cy="4889038"/>
          </a:xfrm>
          <a:prstGeom prst="roundRect">
            <a:avLst>
              <a:gd name="adj" fmla="val 0"/>
            </a:avLst>
          </a:prstGeom>
          <a:solidFill>
            <a:schemeClr val="bg1">
              <a:alpha val="5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40404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8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9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종료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23792" y="188640"/>
            <a:ext cx="3744416" cy="2016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End of Page</a:t>
            </a:r>
          </a:p>
          <a:p>
            <a:pPr algn="ctr">
              <a:lnSpc>
                <a:spcPct val="115000"/>
              </a:lnSpc>
            </a:pPr>
            <a:endParaRPr lang="en-US" altLang="ko-KR" sz="4000" b="1" kern="1200" spc="-150" dirty="0" smtClean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</a:t>
            </a:r>
            <a:r>
              <a:rPr lang="ko-KR" altLang="en-US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감 사 합 니 다 </a:t>
            </a: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</a:t>
            </a:r>
            <a:endParaRPr lang="ko-KR" altLang="en-US" sz="4000" b="1" kern="1200" spc="-15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6-28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3.xml"/><Relationship Id="rId7" Type="http://schemas.microsoft.com/office/2007/relationships/hdphoto" Target="../media/hdphoto3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12.png"/><Relationship Id="rId4" Type="http://schemas.openxmlformats.org/officeDocument/2006/relationships/image" Target="../media/image20.png"/><Relationship Id="rId9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12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1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1.png"/><Relationship Id="rId10" Type="http://schemas.openxmlformats.org/officeDocument/2006/relationships/image" Target="../media/image49.png"/><Relationship Id="rId4" Type="http://schemas.openxmlformats.org/officeDocument/2006/relationships/image" Target="../media/image40.png"/><Relationship Id="rId9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50.png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0821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사각형: 둥근 모서리 14">
            <a:extLst>
              <a:ext uri="{FF2B5EF4-FFF2-40B4-BE49-F238E27FC236}">
                <a16:creationId xmlns:a16="http://schemas.microsoft.com/office/drawing/2014/main" id="{43BAD3AD-93B1-1DCB-B2C5-5B75EA02940E}"/>
              </a:ext>
            </a:extLst>
          </p:cNvPr>
          <p:cNvSpPr/>
          <p:nvPr/>
        </p:nvSpPr>
        <p:spPr>
          <a:xfrm>
            <a:off x="767408" y="1268760"/>
            <a:ext cx="11116617" cy="5184577"/>
          </a:xfrm>
          <a:prstGeom prst="roundRect">
            <a:avLst>
              <a:gd name="adj" fmla="val 3557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이유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?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4" name="텍스트 개체 틀 7">
            <a:extLst>
              <a:ext uri="{FF2B5EF4-FFF2-40B4-BE49-F238E27FC236}">
                <a16:creationId xmlns:a16="http://schemas.microsoft.com/office/drawing/2014/main" id="{E39A6F26-56A3-3E92-3B78-866D9AC3EDBF}"/>
              </a:ext>
            </a:extLst>
          </p:cNvPr>
          <p:cNvSpPr txBox="1">
            <a:spLocks/>
          </p:cNvSpPr>
          <p:nvPr/>
        </p:nvSpPr>
        <p:spPr>
          <a:xfrm>
            <a:off x="2767355" y="692696"/>
            <a:ext cx="6657291" cy="53128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3200" b="1" u="sng" dirty="0"/>
              <a:t>왜 아파트 가격을 주요 변수로 선정했나</a:t>
            </a:r>
            <a:r>
              <a:rPr lang="en-US" altLang="ko-KR" sz="3200" b="1" u="sng" dirty="0"/>
              <a:t>?</a:t>
            </a:r>
            <a:endParaRPr lang="ko-KR" altLang="en-US" sz="3200" b="1" u="sng" dirty="0"/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FC1F9D8D-68EE-5131-9AF1-6081C3DB591D}"/>
              </a:ext>
            </a:extLst>
          </p:cNvPr>
          <p:cNvSpPr/>
          <p:nvPr/>
        </p:nvSpPr>
        <p:spPr>
          <a:xfrm>
            <a:off x="994522" y="1462394"/>
            <a:ext cx="10662389" cy="4752528"/>
          </a:xfrm>
          <a:prstGeom prst="roundRect">
            <a:avLst>
              <a:gd name="adj" fmla="val 5001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D0CB6F-E599-C160-B248-A56EF11D7EDD}"/>
              </a:ext>
            </a:extLst>
          </p:cNvPr>
          <p:cNvSpPr txBox="1"/>
          <p:nvPr/>
        </p:nvSpPr>
        <p:spPr>
          <a:xfrm>
            <a:off x="1213149" y="1638056"/>
            <a:ext cx="10225135" cy="440120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ko-KR"/>
            </a:defPPr>
            <a:lvl1pPr algn="just">
              <a:lnSpc>
                <a:spcPct val="200000"/>
              </a:lnSpc>
              <a:defRPr sz="24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ko-KR" altLang="en-US" sz="2800" dirty="0"/>
              <a:t>도시의 상대적인 </a:t>
            </a:r>
            <a:r>
              <a:rPr lang="ko-KR" altLang="en-US" sz="2800" b="1" u="sng" dirty="0"/>
              <a:t>부유함과 빈곤함(낙후정도)을 잘 보여주는 변수는 아파트가격</a:t>
            </a:r>
            <a:r>
              <a:rPr lang="ko-KR" altLang="en-US" sz="2800" dirty="0"/>
              <a:t>이라고 판단</a:t>
            </a:r>
            <a:r>
              <a:rPr lang="en-US" altLang="ko-KR" sz="2800" dirty="0"/>
              <a:t>.</a:t>
            </a:r>
          </a:p>
          <a:p>
            <a:r>
              <a:rPr lang="ko-KR" altLang="en-US" sz="2800" dirty="0"/>
              <a:t>지역의 월평균 소득 상승에 대부분을 기여하는 차지하는 </a:t>
            </a:r>
            <a:r>
              <a:rPr lang="ko-KR" altLang="en-US" sz="2800" b="1" u="sng" dirty="0"/>
              <a:t>중산층, 상류층의 주거주지로서 편리함을 주는 아파트 혹은 고급 아파트가 선택되고, 저소득층은 아파트 진입이 어렵기 때문</a:t>
            </a:r>
            <a:r>
              <a:rPr lang="ko-KR" altLang="en-US" sz="2800" dirty="0"/>
              <a:t>.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1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7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721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택 변수</a:t>
            </a:r>
          </a:p>
        </p:txBody>
      </p:sp>
      <p:sp>
        <p:nvSpPr>
          <p:cNvPr id="5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9522471" y="1484783"/>
            <a:ext cx="2488290" cy="4968553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9508900" y="3461228"/>
            <a:ext cx="2515433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별 아파트</a:t>
            </a:r>
            <a:endParaRPr lang="en-US" altLang="ko-KR" sz="20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endParaRPr lang="en-US" altLang="ko-KR" sz="20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매매 </a:t>
            </a:r>
            <a:r>
              <a:rPr lang="ko-KR" altLang="en-US" sz="20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실거래지수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데이터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10142086" y="940658"/>
            <a:ext cx="12490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종속변수</a:t>
            </a:r>
            <a:endParaRPr lang="ko-KR" altLang="en-US" sz="24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42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11485350" y="1343786"/>
            <a:ext cx="475813" cy="47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106300" y="1484784"/>
            <a:ext cx="6120680" cy="4968552"/>
          </a:xfrm>
          <a:prstGeom prst="roundRect">
            <a:avLst>
              <a:gd name="adj" fmla="val 3552"/>
            </a:avLst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4819156" y="940658"/>
            <a:ext cx="26949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독립변수 </a:t>
            </a:r>
            <a:r>
              <a:rPr lang="en-US" altLang="ko-KR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종 선정</a:t>
            </a:r>
            <a:r>
              <a:rPr lang="en-US" altLang="ko-KR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6297492" y="1823389"/>
            <a:ext cx="2749468" cy="956836"/>
            <a:chOff x="6154844" y="1823389"/>
            <a:chExt cx="2749468" cy="956836"/>
          </a:xfrm>
        </p:grpSpPr>
        <p:sp>
          <p:nvSpPr>
            <p:cNvPr id="5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154844" y="1823389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6412125" y="2101752"/>
              <a:ext cx="223490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아파트 매매수급동향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7" name="그룹 106"/>
          <p:cNvGrpSpPr/>
          <p:nvPr/>
        </p:nvGrpSpPr>
        <p:grpSpPr>
          <a:xfrm>
            <a:off x="6297492" y="2934891"/>
            <a:ext cx="2749468" cy="956836"/>
            <a:chOff x="6154844" y="2934891"/>
            <a:chExt cx="2749468" cy="956836"/>
          </a:xfrm>
        </p:grpSpPr>
        <p:sp>
          <p:nvSpPr>
            <p:cNvPr id="65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154844" y="2934891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6743946" y="3213254"/>
              <a:ext cx="157126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 지지율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6" name="그룹 105"/>
          <p:cNvGrpSpPr/>
          <p:nvPr/>
        </p:nvGrpSpPr>
        <p:grpSpPr>
          <a:xfrm>
            <a:off x="6297492" y="4046393"/>
            <a:ext cx="2749468" cy="956836"/>
            <a:chOff x="6154844" y="4046393"/>
            <a:chExt cx="2749468" cy="956836"/>
          </a:xfrm>
        </p:grpSpPr>
        <p:sp>
          <p:nvSpPr>
            <p:cNvPr id="71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154844" y="4046393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6463421" y="4324756"/>
              <a:ext cx="213231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택 담보 대출 금리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49" name="그룹 48"/>
          <p:cNvGrpSpPr/>
          <p:nvPr/>
        </p:nvGrpSpPr>
        <p:grpSpPr>
          <a:xfrm>
            <a:off x="6297492" y="5157895"/>
            <a:ext cx="2749468" cy="956836"/>
            <a:chOff x="6154844" y="5157895"/>
            <a:chExt cx="2749468" cy="956836"/>
          </a:xfrm>
        </p:grpSpPr>
        <p:sp>
          <p:nvSpPr>
            <p:cNvPr id="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154844" y="5157895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6662995" y="5436258"/>
              <a:ext cx="173316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소비자물가지수</a:t>
              </a:r>
            </a:p>
          </p:txBody>
        </p:sp>
      </p:grpSp>
      <p:grpSp>
        <p:nvGrpSpPr>
          <p:cNvPr id="109" name="그룹 108"/>
          <p:cNvGrpSpPr/>
          <p:nvPr/>
        </p:nvGrpSpPr>
        <p:grpSpPr>
          <a:xfrm>
            <a:off x="3286320" y="1823389"/>
            <a:ext cx="2749468" cy="956836"/>
            <a:chOff x="3465783" y="1850660"/>
            <a:chExt cx="2749468" cy="956836"/>
          </a:xfrm>
        </p:grpSpPr>
        <p:sp>
          <p:nvSpPr>
            <p:cNvPr id="79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465783" y="1850660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3553145" y="1882802"/>
              <a:ext cx="2574744" cy="8925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역별 인구 이동 </a:t>
              </a: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16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6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총전입</a:t>
              </a:r>
              <a:r>
                <a:rPr lang="en-US" altLang="ko-KR" sz="16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6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총전출</a:t>
              </a:r>
              <a:endParaRPr lang="en-US" altLang="ko-KR" sz="16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6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도간전입</a:t>
              </a:r>
              <a:r>
                <a:rPr lang="en-US" altLang="ko-KR" sz="16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</a:t>
              </a:r>
              <a:r>
                <a:rPr lang="ko-KR" altLang="en-US" sz="16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도간전출</a:t>
              </a:r>
              <a:r>
                <a:rPr lang="en-US" altLang="ko-KR" sz="16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8" name="그룹 107"/>
          <p:cNvGrpSpPr/>
          <p:nvPr/>
        </p:nvGrpSpPr>
        <p:grpSpPr>
          <a:xfrm>
            <a:off x="3286320" y="2934891"/>
            <a:ext cx="2749468" cy="956836"/>
            <a:chOff x="3465783" y="2934891"/>
            <a:chExt cx="2749468" cy="956836"/>
          </a:xfrm>
        </p:grpSpPr>
        <p:sp>
          <p:nvSpPr>
            <p:cNvPr id="82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465783" y="2934891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4331404" y="3213254"/>
              <a:ext cx="101822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PIR</a:t>
              </a: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수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5" name="그룹 104"/>
          <p:cNvGrpSpPr/>
          <p:nvPr/>
        </p:nvGrpSpPr>
        <p:grpSpPr>
          <a:xfrm>
            <a:off x="3286320" y="4046393"/>
            <a:ext cx="2749468" cy="956836"/>
            <a:chOff x="3465783" y="4046393"/>
            <a:chExt cx="2749468" cy="956836"/>
          </a:xfrm>
        </p:grpSpPr>
        <p:sp>
          <p:nvSpPr>
            <p:cNvPr id="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465783" y="4046393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87" name="직사각형 86"/>
            <p:cNvSpPr/>
            <p:nvPr/>
          </p:nvSpPr>
          <p:spPr>
            <a:xfrm>
              <a:off x="3944278" y="4170868"/>
              <a:ext cx="1792478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종합부동산 세율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0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중위값</a:t>
              </a:r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4" name="그룹 103"/>
          <p:cNvGrpSpPr/>
          <p:nvPr/>
        </p:nvGrpSpPr>
        <p:grpSpPr>
          <a:xfrm>
            <a:off x="3286320" y="5157895"/>
            <a:ext cx="2749468" cy="956836"/>
            <a:chOff x="3465783" y="5157895"/>
            <a:chExt cx="2749468" cy="956836"/>
          </a:xfrm>
        </p:grpSpPr>
        <p:sp>
          <p:nvSpPr>
            <p:cNvPr id="89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465783" y="5157895"/>
              <a:ext cx="2749468" cy="956836"/>
            </a:xfrm>
            <a:prstGeom prst="roundRect">
              <a:avLst>
                <a:gd name="adj" fmla="val 8673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3863326" y="5436258"/>
              <a:ext cx="195438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아파트매매거래량</a:t>
              </a:r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pic>
        <p:nvPicPr>
          <p:cNvPr id="9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58353" y="1343786"/>
            <a:ext cx="475813" cy="47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그룹 30"/>
          <p:cNvGrpSpPr/>
          <p:nvPr/>
        </p:nvGrpSpPr>
        <p:grpSpPr>
          <a:xfrm>
            <a:off x="167668" y="1484783"/>
            <a:ext cx="2763898" cy="4968553"/>
            <a:chOff x="71983" y="1412775"/>
            <a:chExt cx="2763898" cy="4968553"/>
          </a:xfrm>
        </p:grpSpPr>
        <p:sp>
          <p:nvSpPr>
            <p:cNvPr id="10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81485" y="1412775"/>
              <a:ext cx="2744894" cy="4968553"/>
            </a:xfrm>
            <a:prstGeom prst="roundRect">
              <a:avLst>
                <a:gd name="adj" fmla="val 8673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71983" y="1696449"/>
              <a:ext cx="2763898" cy="440120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0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후진제거법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Backward</a:t>
              </a:r>
            </a:p>
            <a:p>
              <a:pPr algn="ctr"/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Elimination)</a:t>
              </a:r>
            </a:p>
            <a:p>
              <a:pPr algn="ctr"/>
              <a:endPara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처음엔 </a:t>
              </a:r>
              <a:r>
                <a: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2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의 변수를 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용하여 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훈련시켰으나</a:t>
              </a:r>
              <a:r>
                <a: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0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과대적합</a:t>
              </a: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발생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endPara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해결하기위해 </a:t>
              </a:r>
              <a:r>
                <a:rPr lang="ko-KR" altLang="en-US" sz="2000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차원축소</a:t>
              </a:r>
              <a:endPara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변수 제거</a:t>
              </a:r>
              <a:r>
                <a: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성분 분석</a:t>
              </a:r>
              <a:r>
                <a: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②</a:t>
              </a:r>
              <a:r>
                <a: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7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 변수 선정</a:t>
              </a:r>
            </a:p>
          </p:txBody>
        </p:sp>
      </p:grpSp>
      <p:sp>
        <p:nvSpPr>
          <p:cNvPr id="102" name="직사각형 101"/>
          <p:cNvSpPr/>
          <p:nvPr/>
        </p:nvSpPr>
        <p:spPr>
          <a:xfrm>
            <a:off x="756772" y="940658"/>
            <a:ext cx="15856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b="1" u="sng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변수 선택법</a:t>
            </a:r>
            <a:endParaRPr lang="ko-KR" altLang="en-US" sz="24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117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18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9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0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2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02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223334" y="1052736"/>
            <a:ext cx="11667214" cy="5544616"/>
          </a:xfrm>
          <a:prstGeom prst="roundRect">
            <a:avLst>
              <a:gd name="adj" fmla="val 3552"/>
            </a:avLst>
          </a:prstGeom>
          <a:solidFill>
            <a:schemeClr val="accent2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9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제외 변수</a:t>
            </a:r>
          </a:p>
        </p:txBody>
      </p:sp>
      <p:sp>
        <p:nvSpPr>
          <p:cNvPr id="5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428649" y="1144848"/>
            <a:ext cx="8280920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3428649" y="1423211"/>
            <a:ext cx="69188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</a:t>
            </a: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높은 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상관관계를 확인했으나 월별데이터가 없어서 </a:t>
            </a:r>
            <a:r>
              <a:rPr lang="ko-KR" altLang="en-US" sz="20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빠른 반영 </a:t>
            </a:r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가</a:t>
            </a:r>
            <a:endParaRPr lang="en-US" altLang="ko-KR" sz="2000" b="1" u="sng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428649" y="2245737"/>
            <a:ext cx="8280920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3428649" y="2524100"/>
            <a:ext cx="554350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</a:t>
            </a:r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ne-Hot 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Encoding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하여 넣어봤으나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000" b="1" u="sng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율</a:t>
            </a:r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감소</a:t>
            </a:r>
            <a:endParaRPr lang="en-US" altLang="ko-KR" sz="20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1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428649" y="3346626"/>
            <a:ext cx="8280920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3428649" y="3471101"/>
            <a:ext cx="669125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월별 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가 아닌 분기 데이터만 </a:t>
            </a: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확보 가능</a:t>
            </a:r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0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빠른 반영 불가 </a:t>
            </a:r>
            <a:endParaRPr lang="en-US" altLang="ko-KR" sz="20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</a:t>
            </a:r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PIR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수와 사용되는 변수가 겹침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428649" y="4447515"/>
            <a:ext cx="8280920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3428649" y="4571990"/>
            <a:ext cx="80954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</a:t>
            </a:r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.86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으로 서로 강한 양의 상관관계를 보임으로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0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중공선성</a:t>
            </a:r>
            <a:r>
              <a:rPr lang="ko-KR" altLang="en-US" sz="20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문제 해소를 </a:t>
            </a:r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위해</a:t>
            </a:r>
            <a:endParaRPr lang="en-US" altLang="ko-KR" sz="2000" b="1" u="sng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 </a:t>
            </a: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실거래지수와 상관관계가 높은 주택담보대출금리 채택</a:t>
            </a:r>
            <a:endParaRPr lang="ko-KR" altLang="en-US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04313" y="1144848"/>
            <a:ext cx="2476302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626801" y="1419011"/>
            <a:ext cx="2031325" cy="4085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kumimoji="1" lang="ko-KR" altLang="en-US" sz="2000" b="1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역별 </a:t>
            </a:r>
            <a:r>
              <a:rPr kumimoji="1" lang="en-US" altLang="ko-KR" sz="2000" b="1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r>
              <a:rPr kumimoji="1" lang="ko-KR" altLang="en-US" sz="2000" b="1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인 가구 수</a:t>
            </a:r>
            <a:endParaRPr kumimoji="1" lang="en-US" altLang="ko-KR" sz="2000" b="1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04313" y="2245737"/>
            <a:ext cx="2476302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495354" y="2358371"/>
            <a:ext cx="229421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국회의원 의석수 </a:t>
            </a:r>
            <a:r>
              <a:rPr lang="ko-KR" altLang="en-US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우위</a:t>
            </a:r>
            <a:endParaRPr lang="en-US" altLang="ko-KR" sz="2000" b="1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en-US" altLang="ko-KR" sz="20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보수 </a:t>
            </a:r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vs 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진보</a:t>
            </a:r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</p:txBody>
      </p:sp>
      <p:sp>
        <p:nvSpPr>
          <p:cNvPr id="8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04313" y="3346626"/>
            <a:ext cx="2476302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665272" y="3624989"/>
            <a:ext cx="19543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주택구입부담지수</a:t>
            </a:r>
            <a:endParaRPr lang="en-US" altLang="ko-KR" sz="20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04313" y="4447515"/>
            <a:ext cx="2476302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1107701" y="4725878"/>
            <a:ext cx="10695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준금리</a:t>
            </a:r>
            <a:endParaRPr lang="en-US" altLang="ko-KR" sz="20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04313" y="5548405"/>
            <a:ext cx="2476302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1143769" y="5826768"/>
            <a:ext cx="9973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IR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수</a:t>
            </a:r>
            <a:endParaRPr lang="en-US" altLang="ko-KR" sz="20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9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3428649" y="5563682"/>
            <a:ext cx="8280920" cy="956836"/>
          </a:xfrm>
          <a:prstGeom prst="roundRect">
            <a:avLst>
              <a:gd name="adj" fmla="val 8673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3439709" y="5565047"/>
            <a:ext cx="820090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◆ 둘이 서로 다른 측면에서 주택 시장의 *가용성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affordability)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을 평가하나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endParaRPr lang="en-US" altLang="ko-KR" sz="20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  0.96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으로 상관관계가 매우 </a:t>
            </a: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높아 실거래지수와 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상관관계가 높은 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PIR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수 채택</a:t>
            </a:r>
          </a:p>
          <a:p>
            <a:r>
              <a:rPr lang="ko-KR" altLang="en-US" sz="16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   * </a:t>
            </a:r>
            <a:r>
              <a:rPr lang="ko-KR" altLang="en-US" sz="16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일반적으로 개인이나 가구가 주택을 구매하거나 임대하는 데 필요한 비용을 수용할 수 있는 정도</a:t>
            </a:r>
          </a:p>
        </p:txBody>
      </p:sp>
      <p:cxnSp>
        <p:nvCxnSpPr>
          <p:cNvPr id="94" name="직선 연결선 93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57" idx="1"/>
            <a:endCxn id="79" idx="3"/>
          </p:cNvCxnSpPr>
          <p:nvPr/>
        </p:nvCxnSpPr>
        <p:spPr>
          <a:xfrm flipH="1">
            <a:off x="2880615" y="1623266"/>
            <a:ext cx="548034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95" name="직선 연결선 9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65" idx="1"/>
            <a:endCxn id="82" idx="3"/>
          </p:cNvCxnSpPr>
          <p:nvPr/>
        </p:nvCxnSpPr>
        <p:spPr>
          <a:xfrm flipH="1">
            <a:off x="2880615" y="2724155"/>
            <a:ext cx="548034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71" idx="1"/>
            <a:endCxn id="86" idx="3"/>
          </p:cNvCxnSpPr>
          <p:nvPr/>
        </p:nvCxnSpPr>
        <p:spPr>
          <a:xfrm flipH="1">
            <a:off x="2880615" y="3825044"/>
            <a:ext cx="548034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97" name="직선 연결선 9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76" idx="1"/>
            <a:endCxn id="89" idx="3"/>
          </p:cNvCxnSpPr>
          <p:nvPr/>
        </p:nvCxnSpPr>
        <p:spPr>
          <a:xfrm flipH="1">
            <a:off x="2880615" y="4925933"/>
            <a:ext cx="548034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100" name="직선 연결선 99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92" idx="1"/>
            <a:endCxn id="73" idx="3"/>
          </p:cNvCxnSpPr>
          <p:nvPr/>
        </p:nvCxnSpPr>
        <p:spPr>
          <a:xfrm flipH="1">
            <a:off x="2880615" y="6026823"/>
            <a:ext cx="548034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104" name="직사각형 103"/>
          <p:cNvSpPr/>
          <p:nvPr/>
        </p:nvSpPr>
        <p:spPr>
          <a:xfrm>
            <a:off x="5001790" y="592522"/>
            <a:ext cx="21884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b="1" u="sng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제외변수</a:t>
            </a:r>
            <a:r>
              <a:rPr lang="ko-KR" altLang="en-US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및 사유</a:t>
            </a:r>
            <a:endParaRPr lang="ko-KR" altLang="en-US" sz="24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47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48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9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5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5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805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9EBB33C2-9D9E-B4B0-4FC9-39824D3D80DE}"/>
              </a:ext>
            </a:extLst>
          </p:cNvPr>
          <p:cNvGrpSpPr/>
          <p:nvPr/>
        </p:nvGrpSpPr>
        <p:grpSpPr>
          <a:xfrm>
            <a:off x="207339" y="795782"/>
            <a:ext cx="11777322" cy="872014"/>
            <a:chOff x="2089551" y="993051"/>
            <a:chExt cx="8044889" cy="872014"/>
          </a:xfrm>
        </p:grpSpPr>
        <p:sp>
          <p:nvSpPr>
            <p:cNvPr id="61" name="모서리가 둥근 직사각형 60"/>
            <p:cNvSpPr/>
            <p:nvPr/>
          </p:nvSpPr>
          <p:spPr>
            <a:xfrm>
              <a:off x="2089551" y="993051"/>
              <a:ext cx="8044889" cy="8720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99" name="직사각형 398"/>
            <p:cNvSpPr/>
            <p:nvPr/>
          </p:nvSpPr>
          <p:spPr>
            <a:xfrm>
              <a:off x="3583097" y="1196111"/>
              <a:ext cx="5057796" cy="46589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 Analytics Professional Team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476C88F-A599-D035-6247-3003BCC7EF85}"/>
              </a:ext>
            </a:extLst>
          </p:cNvPr>
          <p:cNvGrpSpPr/>
          <p:nvPr/>
        </p:nvGrpSpPr>
        <p:grpSpPr>
          <a:xfrm>
            <a:off x="5133396" y="1870856"/>
            <a:ext cx="1854351" cy="4845501"/>
            <a:chOff x="5133396" y="1870856"/>
            <a:chExt cx="1854351" cy="4845501"/>
          </a:xfrm>
        </p:grpSpPr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B4BF7EE6-A815-5410-07C9-107B3A8C141A}"/>
                </a:ext>
              </a:extLst>
            </p:cNvPr>
            <p:cNvCxnSpPr>
              <a:cxnSpLocks/>
              <a:stCxn id="26" idx="0"/>
              <a:endCxn id="385" idx="2"/>
            </p:cNvCxnSpPr>
            <p:nvPr/>
          </p:nvCxnSpPr>
          <p:spPr>
            <a:xfrm flipV="1">
              <a:off x="6060572" y="4958171"/>
              <a:ext cx="0" cy="280361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DB0B8AF7-F293-0EC9-7A71-3582CE4F7DD2}"/>
                </a:ext>
              </a:extLst>
            </p:cNvPr>
            <p:cNvGrpSpPr/>
            <p:nvPr/>
          </p:nvGrpSpPr>
          <p:grpSpPr>
            <a:xfrm>
              <a:off x="5133396" y="1870856"/>
              <a:ext cx="1854351" cy="3087315"/>
              <a:chOff x="7391368" y="1911169"/>
              <a:chExt cx="1854351" cy="3087315"/>
            </a:xfrm>
          </p:grpSpPr>
          <p:pic>
            <p:nvPicPr>
              <p:cNvPr id="385" name="그림 384">
                <a:extLst>
                  <a:ext uri="{FF2B5EF4-FFF2-40B4-BE49-F238E27FC236}">
                    <a16:creationId xmlns:a16="http://schemas.microsoft.com/office/drawing/2014/main" id="{FE7BA08B-8C43-5295-0EE2-38D75FC91D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91368" y="2614319"/>
                <a:ext cx="1854351" cy="23841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90" name="직사각형 389"/>
              <p:cNvSpPr/>
              <p:nvPr/>
            </p:nvSpPr>
            <p:spPr>
              <a:xfrm>
                <a:off x="7759736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박주찬</a:t>
                </a:r>
              </a:p>
            </p:txBody>
          </p:sp>
        </p:grp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C9AAEDD9-1BFD-BBBC-BD5E-D5A427848545}"/>
                </a:ext>
              </a:extLst>
            </p:cNvPr>
            <p:cNvGrpSpPr/>
            <p:nvPr/>
          </p:nvGrpSpPr>
          <p:grpSpPr>
            <a:xfrm>
              <a:off x="5164132" y="5238532"/>
              <a:ext cx="1792879" cy="1477825"/>
              <a:chOff x="5131281" y="5238532"/>
              <a:chExt cx="1792879" cy="1477825"/>
            </a:xfrm>
          </p:grpSpPr>
          <p:sp>
            <p:nvSpPr>
              <p:cNvPr id="26" name="사각형: 둥근 모서리 25">
                <a:extLst>
                  <a:ext uri="{FF2B5EF4-FFF2-40B4-BE49-F238E27FC236}">
                    <a16:creationId xmlns:a16="http://schemas.microsoft.com/office/drawing/2014/main" id="{E1831223-0295-BC18-76A5-0F592B16BB48}"/>
                  </a:ext>
                </a:extLst>
              </p:cNvPr>
              <p:cNvSpPr/>
              <p:nvPr/>
            </p:nvSpPr>
            <p:spPr>
              <a:xfrm>
                <a:off x="5131281" y="5238532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38F277-402B-3A90-74B6-88D6B9FE0EC9}"/>
                  </a:ext>
                </a:extLst>
              </p:cNvPr>
              <p:cNvSpPr txBox="1"/>
              <p:nvPr/>
            </p:nvSpPr>
            <p:spPr>
              <a:xfrm>
                <a:off x="5153122" y="5331979"/>
                <a:ext cx="1749197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계획 수립 및 총괄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ko-KR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L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모델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</a:t>
                </a: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전처리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8887C7F5-5E41-A956-7B7F-8FF6F8C04C7F}"/>
              </a:ext>
            </a:extLst>
          </p:cNvPr>
          <p:cNvGrpSpPr/>
          <p:nvPr/>
        </p:nvGrpSpPr>
        <p:grpSpPr>
          <a:xfrm>
            <a:off x="2647595" y="1870856"/>
            <a:ext cx="1792879" cy="4845501"/>
            <a:chOff x="2647595" y="1870856"/>
            <a:chExt cx="1792879" cy="4845501"/>
          </a:xfrm>
        </p:grpSpPr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EB6BD129-2D99-9691-32E5-3521F31EF4A6}"/>
                </a:ext>
              </a:extLst>
            </p:cNvPr>
            <p:cNvCxnSpPr>
              <a:cxnSpLocks/>
              <a:stCxn id="25" idx="0"/>
              <a:endCxn id="52" idx="2"/>
            </p:cNvCxnSpPr>
            <p:nvPr/>
          </p:nvCxnSpPr>
          <p:spPr>
            <a:xfrm flipH="1" flipV="1">
              <a:off x="3544034" y="4967757"/>
              <a:ext cx="1" cy="270775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9A4083A6-C4C9-E185-FB84-21C3382EAD50}"/>
                </a:ext>
              </a:extLst>
            </p:cNvPr>
            <p:cNvGrpSpPr/>
            <p:nvPr/>
          </p:nvGrpSpPr>
          <p:grpSpPr>
            <a:xfrm>
              <a:off x="2652726" y="1870856"/>
              <a:ext cx="1782616" cy="3096901"/>
              <a:chOff x="2891852" y="1882893"/>
              <a:chExt cx="1782616" cy="3096901"/>
            </a:xfrm>
          </p:grpSpPr>
          <p:sp>
            <p:nvSpPr>
              <p:cNvPr id="398" name="직사각형 397"/>
              <p:cNvSpPr/>
              <p:nvPr/>
            </p:nvSpPr>
            <p:spPr>
              <a:xfrm>
                <a:off x="3224353" y="1882893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신정윤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52" name="그림 5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91852" y="2602973"/>
                <a:ext cx="1782616" cy="237682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sp>
          <p:nvSpPr>
            <p:cNvPr id="25" name="사각형: 둥근 모서리 24">
              <a:extLst>
                <a:ext uri="{FF2B5EF4-FFF2-40B4-BE49-F238E27FC236}">
                  <a16:creationId xmlns:a16="http://schemas.microsoft.com/office/drawing/2014/main" id="{614E8E9C-FFCF-639E-F06A-E0B2F804F11D}"/>
                </a:ext>
              </a:extLst>
            </p:cNvPr>
            <p:cNvSpPr/>
            <p:nvPr/>
          </p:nvSpPr>
          <p:spPr>
            <a:xfrm>
              <a:off x="2647595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23D28C-9D51-9668-CA9C-42D626530C05}"/>
                </a:ext>
              </a:extLst>
            </p:cNvPr>
            <p:cNvSpPr txBox="1"/>
            <p:nvPr/>
          </p:nvSpPr>
          <p:spPr>
            <a:xfrm>
              <a:off x="2717526" y="5331979"/>
              <a:ext cx="1653017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 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C164DF36-1991-6727-B5B2-35D5C74C67AA}"/>
              </a:ext>
            </a:extLst>
          </p:cNvPr>
          <p:cNvGrpSpPr/>
          <p:nvPr/>
        </p:nvGrpSpPr>
        <p:grpSpPr>
          <a:xfrm>
            <a:off x="10191782" y="1870856"/>
            <a:ext cx="1792879" cy="4845500"/>
            <a:chOff x="10191782" y="1870856"/>
            <a:chExt cx="1792879" cy="4845500"/>
          </a:xfrm>
        </p:grpSpPr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FB7475F8-0C3F-FEB1-BA30-3CB27124DC53}"/>
                </a:ext>
              </a:extLst>
            </p:cNvPr>
            <p:cNvCxnSpPr>
              <a:cxnSpLocks/>
              <a:stCxn id="30" idx="0"/>
              <a:endCxn id="387" idx="2"/>
            </p:cNvCxnSpPr>
            <p:nvPr/>
          </p:nvCxnSpPr>
          <p:spPr>
            <a:xfrm flipV="1">
              <a:off x="11088222" y="4972863"/>
              <a:ext cx="2377" cy="265668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7B476EB3-1B17-89A8-814E-18287DC61987}"/>
                </a:ext>
              </a:extLst>
            </p:cNvPr>
            <p:cNvGrpSpPr/>
            <p:nvPr/>
          </p:nvGrpSpPr>
          <p:grpSpPr>
            <a:xfrm>
              <a:off x="10196536" y="1870856"/>
              <a:ext cx="1788125" cy="3102007"/>
              <a:chOff x="667079" y="1911169"/>
              <a:chExt cx="1788125" cy="3102007"/>
            </a:xfrm>
          </p:grpSpPr>
          <p:pic>
            <p:nvPicPr>
              <p:cNvPr id="387" name="그림 386">
                <a:extLst>
                  <a:ext uri="{FF2B5EF4-FFF2-40B4-BE49-F238E27FC236}">
                    <a16:creationId xmlns:a16="http://schemas.microsoft.com/office/drawing/2014/main" id="{D1076A6C-5C5A-1961-5014-AE73226FAF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7079" y="2629010"/>
                <a:ext cx="1788125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9" name="직사각형 388"/>
              <p:cNvSpPr/>
              <p:nvPr/>
            </p:nvSpPr>
            <p:spPr>
              <a:xfrm>
                <a:off x="100233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224103E5-5F1D-0321-32FC-10F8D282D12C}"/>
                </a:ext>
              </a:extLst>
            </p:cNvPr>
            <p:cNvGrpSpPr/>
            <p:nvPr/>
          </p:nvGrpSpPr>
          <p:grpSpPr>
            <a:xfrm>
              <a:off x="10191782" y="5238531"/>
              <a:ext cx="1792879" cy="1477825"/>
              <a:chOff x="10196536" y="5164616"/>
              <a:chExt cx="1792879" cy="1477825"/>
            </a:xfrm>
          </p:grpSpPr>
          <p:sp>
            <p:nvSpPr>
              <p:cNvPr id="30" name="사각형: 둥근 모서리 29">
                <a:extLst>
                  <a:ext uri="{FF2B5EF4-FFF2-40B4-BE49-F238E27FC236}">
                    <a16:creationId xmlns:a16="http://schemas.microsoft.com/office/drawing/2014/main" id="{80C85782-AF5E-F297-A3A0-07D191AB025B}"/>
                  </a:ext>
                </a:extLst>
              </p:cNvPr>
              <p:cNvSpPr/>
              <p:nvPr/>
            </p:nvSpPr>
            <p:spPr>
              <a:xfrm>
                <a:off x="10196536" y="5164616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49807E9-E327-3B77-64F7-24AC170A06C0}"/>
                  </a:ext>
                </a:extLst>
              </p:cNvPr>
              <p:cNvSpPr txBox="1"/>
              <p:nvPr/>
            </p:nvSpPr>
            <p:spPr>
              <a:xfrm>
                <a:off x="10375471" y="5258063"/>
                <a:ext cx="1435008" cy="13388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탐색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FB364A12-B165-7546-9409-B18902BCABCC}"/>
              </a:ext>
            </a:extLst>
          </p:cNvPr>
          <p:cNvGrpSpPr/>
          <p:nvPr/>
        </p:nvGrpSpPr>
        <p:grpSpPr>
          <a:xfrm>
            <a:off x="7658897" y="1870856"/>
            <a:ext cx="1854000" cy="4850845"/>
            <a:chOff x="7658897" y="1870856"/>
            <a:chExt cx="1854000" cy="4850845"/>
          </a:xfrm>
        </p:grpSpPr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29AD2156-98D2-E146-DCEF-813446AE0030}"/>
                </a:ext>
              </a:extLst>
            </p:cNvPr>
            <p:cNvCxnSpPr>
              <a:cxnSpLocks/>
              <a:stCxn id="27" idx="0"/>
              <a:endCxn id="68" idx="2"/>
            </p:cNvCxnSpPr>
            <p:nvPr/>
          </p:nvCxnSpPr>
          <p:spPr>
            <a:xfrm flipH="1" flipV="1">
              <a:off x="8585897" y="4957206"/>
              <a:ext cx="1" cy="28667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F06B7D1E-2634-BA57-74C4-4868AC32A190}"/>
                </a:ext>
              </a:extLst>
            </p:cNvPr>
            <p:cNvGrpSpPr/>
            <p:nvPr/>
          </p:nvGrpSpPr>
          <p:grpSpPr>
            <a:xfrm>
              <a:off x="7658897" y="1870856"/>
              <a:ext cx="1854000" cy="3086350"/>
              <a:chOff x="9670921" y="1911169"/>
              <a:chExt cx="1854000" cy="3086350"/>
            </a:xfrm>
          </p:grpSpPr>
          <p:sp>
            <p:nvSpPr>
              <p:cNvPr id="391" name="직사각형 390"/>
              <p:cNvSpPr/>
              <p:nvPr/>
            </p:nvSpPr>
            <p:spPr>
              <a:xfrm>
                <a:off x="1003911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의재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68" name="그림 67"/>
              <p:cNvPicPr>
                <a:picLocks/>
              </p:cNvPicPr>
              <p:nvPr/>
            </p:nvPicPr>
            <p:blipFill rotWithShape="1">
              <a:blip r:embed="rId6"/>
              <a:srcRect l="6129" t="4669" r="4856" b="3208"/>
              <a:stretch/>
            </p:blipFill>
            <p:spPr>
              <a:xfrm>
                <a:off x="9670921" y="2614319"/>
                <a:ext cx="1854000" cy="23832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087A112D-B101-008F-FC3B-50408A13C248}"/>
                </a:ext>
              </a:extLst>
            </p:cNvPr>
            <p:cNvGrpSpPr/>
            <p:nvPr/>
          </p:nvGrpSpPr>
          <p:grpSpPr>
            <a:xfrm>
              <a:off x="7689458" y="5243876"/>
              <a:ext cx="1792879" cy="1477825"/>
              <a:chOff x="7651595" y="5169961"/>
              <a:chExt cx="1792879" cy="1477825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8269C9EB-CB77-0780-A962-4145BE7229A6}"/>
                  </a:ext>
                </a:extLst>
              </p:cNvPr>
              <p:cNvSpPr/>
              <p:nvPr/>
            </p:nvSpPr>
            <p:spPr>
              <a:xfrm>
                <a:off x="7651595" y="5169961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7217023-C0D7-5D60-E335-ACCF133985CD}"/>
                  </a:ext>
                </a:extLst>
              </p:cNvPr>
              <p:cNvSpPr txBox="1"/>
              <p:nvPr/>
            </p:nvSpPr>
            <p:spPr>
              <a:xfrm>
                <a:off x="7830530" y="5263408"/>
                <a:ext cx="1435008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분석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B93002A9-4D6A-A87B-F269-003FCB585C6C}"/>
              </a:ext>
            </a:extLst>
          </p:cNvPr>
          <p:cNvGrpSpPr/>
          <p:nvPr/>
        </p:nvGrpSpPr>
        <p:grpSpPr>
          <a:xfrm>
            <a:off x="207339" y="1870856"/>
            <a:ext cx="1792879" cy="4845501"/>
            <a:chOff x="207339" y="1870856"/>
            <a:chExt cx="1792879" cy="4845501"/>
          </a:xfrm>
        </p:grpSpPr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094A95F6-B706-968A-D31B-6C36CB5DC44D}"/>
                </a:ext>
              </a:extLst>
            </p:cNvPr>
            <p:cNvCxnSpPr>
              <a:cxnSpLocks/>
              <a:stCxn id="24" idx="0"/>
              <a:endCxn id="386" idx="2"/>
            </p:cNvCxnSpPr>
            <p:nvPr/>
          </p:nvCxnSpPr>
          <p:spPr>
            <a:xfrm flipV="1">
              <a:off x="1103779" y="4958172"/>
              <a:ext cx="0" cy="28036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A7379260-2BDA-D2AB-3F18-7E7EFB9D45B3}"/>
                </a:ext>
              </a:extLst>
            </p:cNvPr>
            <p:cNvGrpSpPr/>
            <p:nvPr/>
          </p:nvGrpSpPr>
          <p:grpSpPr>
            <a:xfrm>
              <a:off x="207339" y="1870856"/>
              <a:ext cx="1792879" cy="3087316"/>
              <a:chOff x="5139822" y="1911169"/>
              <a:chExt cx="1792879" cy="3087316"/>
            </a:xfrm>
          </p:grpSpPr>
          <p:pic>
            <p:nvPicPr>
              <p:cNvPr id="386" name="그림 385">
                <a:extLst>
                  <a:ext uri="{FF2B5EF4-FFF2-40B4-BE49-F238E27FC236}">
                    <a16:creationId xmlns:a16="http://schemas.microsoft.com/office/drawing/2014/main" id="{97D5B861-489D-7420-12F0-3BCB5409B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139822" y="2614319"/>
                <a:ext cx="1792879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8" name="직사각형 387"/>
              <p:cNvSpPr/>
              <p:nvPr/>
            </p:nvSpPr>
            <p:spPr>
              <a:xfrm>
                <a:off x="547745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우진</a:t>
                </a:r>
              </a:p>
            </p:txBody>
          </p:sp>
        </p:grp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C9FA8FF7-FBA6-5414-8C82-B9C474C21F02}"/>
                </a:ext>
              </a:extLst>
            </p:cNvPr>
            <p:cNvSpPr/>
            <p:nvPr/>
          </p:nvSpPr>
          <p:spPr>
            <a:xfrm>
              <a:off x="207339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F9EB7D0-89E9-6B4C-AE67-EA4578A35333}"/>
                </a:ext>
              </a:extLst>
            </p:cNvPr>
            <p:cNvSpPr txBox="1"/>
            <p:nvPr/>
          </p:nvSpPr>
          <p:spPr>
            <a:xfrm>
              <a:off x="386274" y="5331979"/>
              <a:ext cx="1435008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242426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팀원 소개 및 역할</a:t>
            </a:r>
          </a:p>
        </p:txBody>
      </p:sp>
      <p:grpSp>
        <p:nvGrpSpPr>
          <p:cNvPr id="69" name="그룹 68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70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71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72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7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74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49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</a:t>
            </a:r>
          </a:p>
        </p:txBody>
      </p:sp>
      <p:sp>
        <p:nvSpPr>
          <p:cNvPr id="55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텍스트 개체 틀 11">
            <a:extLst>
              <a:ext uri="{FF2B5EF4-FFF2-40B4-BE49-F238E27FC236}">
                <a16:creationId xmlns:a16="http://schemas.microsoft.com/office/drawing/2014/main" id="{E0C70963-EECD-44A6-3350-F4A2BBB37AEB}"/>
              </a:ext>
            </a:extLst>
          </p:cNvPr>
          <p:cNvSpPr txBox="1">
            <a:spLocks/>
          </p:cNvSpPr>
          <p:nvPr/>
        </p:nvSpPr>
        <p:spPr>
          <a:xfrm>
            <a:off x="7404834" y="2368252"/>
            <a:ext cx="3401769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② 리서치 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직접 수집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3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375461" y="2811348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1418884" y="2368252"/>
            <a:ext cx="3334796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① </a:t>
            </a:r>
            <a:r>
              <a:rPr lang="ko-KR" altLang="en-US" sz="2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크롤링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자동 수집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9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6394897" y="2811348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36" name="그룹 35"/>
          <p:cNvGrpSpPr/>
          <p:nvPr/>
        </p:nvGrpSpPr>
        <p:grpSpPr>
          <a:xfrm>
            <a:off x="594392" y="3400589"/>
            <a:ext cx="1837362" cy="2565934"/>
            <a:chOff x="502378" y="3400589"/>
            <a:chExt cx="1837362" cy="2565934"/>
          </a:xfrm>
        </p:grpSpPr>
        <p:grpSp>
          <p:nvGrpSpPr>
            <p:cNvPr id="6" name="그룹 5"/>
            <p:cNvGrpSpPr/>
            <p:nvPr/>
          </p:nvGrpSpPr>
          <p:grpSpPr>
            <a:xfrm>
              <a:off x="608503" y="3400589"/>
              <a:ext cx="1625112" cy="1625112"/>
              <a:chOff x="996548" y="3258102"/>
              <a:chExt cx="1337080" cy="1337080"/>
            </a:xfrm>
          </p:grpSpPr>
          <p:sp>
            <p:nvSpPr>
              <p:cNvPr id="5" name="타원 4"/>
              <p:cNvSpPr/>
              <p:nvPr/>
            </p:nvSpPr>
            <p:spPr>
              <a:xfrm>
                <a:off x="996548" y="3258102"/>
                <a:ext cx="1337080" cy="1337080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/>
              <p:cNvPicPr>
                <a:picLocks noChangeAspect="1"/>
              </p:cNvPicPr>
              <p:nvPr/>
            </p:nvPicPr>
            <p:blipFill rotWithShape="1">
              <a:blip r:embed="rId4"/>
              <a:srcRect l="16213" r="16213"/>
              <a:stretch/>
            </p:blipFill>
            <p:spPr>
              <a:xfrm>
                <a:off x="1377056" y="3500398"/>
                <a:ext cx="576064" cy="852488"/>
              </a:xfrm>
              <a:prstGeom prst="rect">
                <a:avLst/>
              </a:prstGeom>
            </p:spPr>
          </p:pic>
        </p:grpSp>
        <p:sp>
          <p:nvSpPr>
            <p:cNvPr id="8" name="직사각형 7"/>
            <p:cNvSpPr/>
            <p:nvPr/>
          </p:nvSpPr>
          <p:spPr>
            <a:xfrm>
              <a:off x="502378" y="5135526"/>
              <a:ext cx="1837362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API</a:t>
              </a:r>
              <a:endPara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URL)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3713886" y="3400589"/>
            <a:ext cx="1625112" cy="1625112"/>
            <a:chOff x="2551854" y="3258102"/>
            <a:chExt cx="1337080" cy="1337080"/>
          </a:xfrm>
        </p:grpSpPr>
        <p:sp>
          <p:nvSpPr>
            <p:cNvPr id="82" name="타원 81"/>
            <p:cNvSpPr/>
            <p:nvPr/>
          </p:nvSpPr>
          <p:spPr>
            <a:xfrm>
              <a:off x="2551854" y="3258102"/>
              <a:ext cx="1337080" cy="133708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3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6358" y="3571445"/>
              <a:ext cx="648072" cy="710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4" name="직사각형 83"/>
          <p:cNvSpPr/>
          <p:nvPr/>
        </p:nvSpPr>
        <p:spPr>
          <a:xfrm>
            <a:off x="3474712" y="5135526"/>
            <a:ext cx="210346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4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크롤링</a:t>
            </a:r>
            <a:endParaRPr lang="en-US" altLang="ko-KR" sz="24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URL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반 수집</a:t>
            </a:r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십자형 27"/>
          <p:cNvSpPr/>
          <p:nvPr/>
        </p:nvSpPr>
        <p:spPr>
          <a:xfrm>
            <a:off x="2500492" y="3693879"/>
            <a:ext cx="1038532" cy="1038532"/>
          </a:xfrm>
          <a:prstGeom prst="plus">
            <a:avLst>
              <a:gd name="adj" fmla="val 38452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3" name="그룹 42"/>
          <p:cNvGrpSpPr/>
          <p:nvPr/>
        </p:nvGrpSpPr>
        <p:grpSpPr>
          <a:xfrm>
            <a:off x="6620089" y="3344981"/>
            <a:ext cx="4971258" cy="2677151"/>
            <a:chOff x="6741366" y="3289372"/>
            <a:chExt cx="4971258" cy="2677151"/>
          </a:xfrm>
        </p:grpSpPr>
        <p:sp>
          <p:nvSpPr>
            <p:cNvPr id="88" name="직사각형 87"/>
            <p:cNvSpPr/>
            <p:nvPr/>
          </p:nvSpPr>
          <p:spPr>
            <a:xfrm>
              <a:off x="6786725" y="5135526"/>
              <a:ext cx="1534394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API</a:t>
              </a:r>
            </a:p>
            <a:p>
              <a:pPr algn="ctr"/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용 불가</a:t>
              </a:r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37" name="그룹 36"/>
            <p:cNvGrpSpPr/>
            <p:nvPr/>
          </p:nvGrpSpPr>
          <p:grpSpPr>
            <a:xfrm>
              <a:off x="6741366" y="3289372"/>
              <a:ext cx="1625112" cy="1625112"/>
              <a:chOff x="6741366" y="3289372"/>
              <a:chExt cx="1625112" cy="1625112"/>
            </a:xfrm>
          </p:grpSpPr>
          <p:grpSp>
            <p:nvGrpSpPr>
              <p:cNvPr id="87" name="그룹 86"/>
              <p:cNvGrpSpPr/>
              <p:nvPr/>
            </p:nvGrpSpPr>
            <p:grpSpPr>
              <a:xfrm>
                <a:off x="6741366" y="3289372"/>
                <a:ext cx="1625112" cy="1625112"/>
                <a:chOff x="996548" y="3258102"/>
                <a:chExt cx="1337080" cy="1337080"/>
              </a:xfrm>
            </p:grpSpPr>
            <p:sp>
              <p:nvSpPr>
                <p:cNvPr id="89" name="타원 88"/>
                <p:cNvSpPr/>
                <p:nvPr/>
              </p:nvSpPr>
              <p:spPr>
                <a:xfrm>
                  <a:off x="996548" y="3258102"/>
                  <a:ext cx="1337080" cy="1337080"/>
                </a:xfrm>
                <a:prstGeom prst="ellipse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90" name="그림 89"/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16213" r="16213"/>
                <a:stretch/>
              </p:blipFill>
              <p:spPr>
                <a:xfrm>
                  <a:off x="1377056" y="3500398"/>
                  <a:ext cx="576064" cy="852488"/>
                </a:xfrm>
                <a:prstGeom prst="rect">
                  <a:avLst/>
                </a:prstGeom>
              </p:spPr>
            </p:pic>
          </p:grpSp>
          <p:pic>
            <p:nvPicPr>
              <p:cNvPr id="91" name="Picture 2" descr="Xgrunge 문자 X 벡터 십자 기호 손으로 그린 X | 프리미엄 벡터">
                <a:extLst>
                  <a:ext uri="{FF2B5EF4-FFF2-40B4-BE49-F238E27FC236}">
                    <a16:creationId xmlns:a16="http://schemas.microsoft.com/office/drawing/2014/main" id="{9A845CD0-6A44-8549-22AE-A9642C81DA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273" t="7397" r="18197" b="8849"/>
              <a:stretch/>
            </p:blipFill>
            <p:spPr bwMode="auto">
              <a:xfrm>
                <a:off x="7033258" y="3415508"/>
                <a:ext cx="1041332" cy="13728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5" name="오른쪽 화살표 89">
              <a:extLst>
                <a:ext uri="{FF2B5EF4-FFF2-40B4-BE49-F238E27FC236}">
                  <a16:creationId xmlns:a16="http://schemas.microsoft.com/office/drawing/2014/main" id="{B8B02F69-DD09-CFD5-C365-99D3B0E45D95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8696725" y="3769228"/>
              <a:ext cx="666709" cy="727423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sym typeface="Arial"/>
              </a:endParaRPr>
            </a:p>
          </p:txBody>
        </p:sp>
        <p:grpSp>
          <p:nvGrpSpPr>
            <p:cNvPr id="41" name="그룹 40"/>
            <p:cNvGrpSpPr/>
            <p:nvPr/>
          </p:nvGrpSpPr>
          <p:grpSpPr>
            <a:xfrm>
              <a:off x="9605155" y="3289372"/>
              <a:ext cx="2107469" cy="2677151"/>
              <a:chOff x="9605155" y="3289372"/>
              <a:chExt cx="2107469" cy="2677151"/>
            </a:xfrm>
          </p:grpSpPr>
          <p:pic>
            <p:nvPicPr>
              <p:cNvPr id="1026" name="Picture 2" descr="호갱노노(호갱노노) 기업정보 - 넥스트유니콘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93680" y="3289372"/>
                <a:ext cx="1681150" cy="1625112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" name="직사각형 39"/>
              <p:cNvSpPr/>
              <p:nvPr/>
            </p:nvSpPr>
            <p:spPr>
              <a:xfrm>
                <a:off x="11292316" y="4452819"/>
                <a:ext cx="420308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8" name="직사각형 97"/>
              <p:cNvSpPr/>
              <p:nvPr/>
            </p:nvSpPr>
            <p:spPr>
              <a:xfrm>
                <a:off x="9605155" y="5135526"/>
                <a:ext cx="1858202" cy="830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ko-KR" altLang="en-US" sz="2400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웹페이지</a:t>
                </a:r>
                <a:r>
                  <a:rPr lang="ko-KR" altLang="en-US" sz="2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접속</a:t>
                </a:r>
                <a:endPara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en-US" altLang="ko-KR" sz="2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</a:t>
                </a:r>
                <a:r>
                  <a:rPr lang="ko-KR" altLang="en-US" sz="2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직접 수집</a:t>
                </a:r>
                <a:r>
                  <a:rPr lang="en-US" altLang="ko-KR" sz="2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</a:t>
                </a:r>
                <a:endPara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sp>
        <p:nvSpPr>
          <p:cNvPr id="51" name="모서리가 둥근 직사각형 50"/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303156" y="1000957"/>
            <a:ext cx="1585692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9">
            <a:lum bright="70000" contrast="-70000"/>
          </a:blip>
          <a:srcRect l="7328" t="19751" r="52240" b="25782"/>
          <a:stretch/>
        </p:blipFill>
        <p:spPr>
          <a:xfrm>
            <a:off x="4240321" y="833242"/>
            <a:ext cx="921136" cy="797094"/>
          </a:xfrm>
          <a:prstGeom prst="rect">
            <a:avLst/>
          </a:prstGeom>
        </p:spPr>
      </p:pic>
      <p:pic>
        <p:nvPicPr>
          <p:cNvPr id="78" name="그림 77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108" name="그룹 10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10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723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</a:t>
            </a:r>
          </a:p>
        </p:txBody>
      </p:sp>
      <p:sp>
        <p:nvSpPr>
          <p:cNvPr id="55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375460" y="2811348"/>
            <a:ext cx="11337163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모서리가 둥근 직사각형 50"/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303156" y="1000957"/>
            <a:ext cx="1585692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3">
            <a:lum bright="70000" contrast="-70000"/>
          </a:blip>
          <a:srcRect l="7328" t="19751" r="52240" b="25782"/>
          <a:stretch/>
        </p:blipFill>
        <p:spPr>
          <a:xfrm>
            <a:off x="4240321" y="833242"/>
            <a:ext cx="921136" cy="797094"/>
          </a:xfrm>
          <a:prstGeom prst="rect">
            <a:avLst/>
          </a:prstGeom>
        </p:spPr>
      </p:pic>
      <p:pic>
        <p:nvPicPr>
          <p:cNvPr id="78" name="그림 77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108" name="그룹 10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10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42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651439" y="4194358"/>
            <a:ext cx="10785205" cy="230425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일부 </a:t>
            </a: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변수 </a:t>
            </a:r>
            <a:r>
              <a:rPr lang="ko-KR" altLang="en-US" sz="36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크롤링</a:t>
            </a: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실패 문제 해결</a:t>
            </a:r>
            <a:r>
              <a:rPr lang="en-US" altLang="ko-KR" sz="3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주택금융연구원</a:t>
            </a:r>
            <a:r>
              <a:rPr lang="en-US" altLang="ko-KR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한국갤럽 데이터 등 </a:t>
            </a:r>
            <a:r>
              <a:rPr lang="ko-KR" altLang="en-US" sz="36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크롤링</a:t>
            </a: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실패한 </a:t>
            </a:r>
            <a:endParaRPr lang="en-US" altLang="ko-KR" sz="36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3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데이터에 </a:t>
            </a: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대한 </a:t>
            </a:r>
            <a:r>
              <a:rPr lang="ko-KR" altLang="en-US" sz="3600" b="1" u="sng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크롤링</a:t>
            </a:r>
            <a:r>
              <a:rPr lang="ko-KR" altLang="en-US" sz="3600" b="1" u="sng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모듈 설계 및 개발 </a:t>
            </a:r>
            <a:r>
              <a:rPr lang="ko-KR" altLang="en-US" sz="36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예정</a:t>
            </a:r>
            <a:endParaRPr lang="ko-KR" altLang="en-US" sz="3600" b="1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064567" y="2962140"/>
            <a:ext cx="9958948" cy="936666"/>
            <a:chOff x="945461" y="2962140"/>
            <a:chExt cx="9958948" cy="936666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45461" y="2962140"/>
              <a:ext cx="3278331" cy="936666"/>
            </a:xfrm>
            <a:prstGeom prst="rect">
              <a:avLst/>
            </a:prstGeom>
          </p:spPr>
        </p:pic>
        <p:pic>
          <p:nvPicPr>
            <p:cNvPr id="1028" name="Picture 4" descr="파일:Gallup Korea logo.svg - 위키백과, 우리 모두의 백과사전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818" y="2962140"/>
              <a:ext cx="5328591" cy="936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11556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28037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2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전처리</a:t>
            </a: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텍스트 개체 틀 11">
            <a:extLst>
              <a:ext uri="{FF2B5EF4-FFF2-40B4-BE49-F238E27FC236}">
                <a16:creationId xmlns:a16="http://schemas.microsoft.com/office/drawing/2014/main" id="{E0C70963-EECD-44A6-3350-F4A2BBB37AEB}"/>
              </a:ext>
            </a:extLst>
          </p:cNvPr>
          <p:cNvSpPr txBox="1">
            <a:spLocks/>
          </p:cNvSpPr>
          <p:nvPr/>
        </p:nvSpPr>
        <p:spPr>
          <a:xfrm>
            <a:off x="7778406" y="2368252"/>
            <a:ext cx="2654624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② 스케일링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375461" y="2811348"/>
            <a:ext cx="5421642" cy="3744416"/>
          </a:xfrm>
          <a:prstGeom prst="roundRect">
            <a:avLst>
              <a:gd name="adj" fmla="val 4705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455074" y="2368252"/>
            <a:ext cx="5262416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방법① 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‘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시점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’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열을 기준으로 데이터 프레임 결함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6394897" y="2811348"/>
            <a:ext cx="5421642" cy="3744416"/>
          </a:xfrm>
          <a:prstGeom prst="roundRect">
            <a:avLst>
              <a:gd name="adj" fmla="val 3942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EBB33C2-9D9E-B4B0-4FC9-39824D3D80DE}"/>
              </a:ext>
            </a:extLst>
          </p:cNvPr>
          <p:cNvGrpSpPr/>
          <p:nvPr/>
        </p:nvGrpSpPr>
        <p:grpSpPr>
          <a:xfrm>
            <a:off x="207339" y="795963"/>
            <a:ext cx="11777322" cy="872014"/>
            <a:chOff x="2089551" y="993051"/>
            <a:chExt cx="8044889" cy="872014"/>
          </a:xfrm>
        </p:grpSpPr>
        <p:sp>
          <p:nvSpPr>
            <p:cNvPr id="14" name="모서리가 둥근 직사각형 13"/>
            <p:cNvSpPr/>
            <p:nvPr/>
          </p:nvSpPr>
          <p:spPr>
            <a:xfrm>
              <a:off x="2089551" y="993051"/>
              <a:ext cx="8044889" cy="8720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5" name="직사각형 14"/>
            <p:cNvSpPr/>
            <p:nvPr/>
          </p:nvSpPr>
          <p:spPr>
            <a:xfrm>
              <a:off x="5479534" y="1198226"/>
              <a:ext cx="1264926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>
            <a:lum bright="70000" contrast="-70000"/>
          </a:blip>
          <a:srcRect l="30649" t="20964" r="30649" b="7949"/>
          <a:stretch/>
        </p:blipFill>
        <p:spPr>
          <a:xfrm>
            <a:off x="4243641" y="795782"/>
            <a:ext cx="844247" cy="872376"/>
          </a:xfrm>
          <a:prstGeom prst="rect">
            <a:avLst/>
          </a:prstGeom>
        </p:spPr>
      </p:pic>
      <p:sp>
        <p:nvSpPr>
          <p:cNvPr id="45" name="모서리가 둥근 직사각형 44"/>
          <p:cNvSpPr/>
          <p:nvPr/>
        </p:nvSpPr>
        <p:spPr>
          <a:xfrm>
            <a:off x="6714836" y="2928755"/>
            <a:ext cx="4781764" cy="172667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5"/>
          <a:srcRect l="9826" t="14568" r="9826" b="14568"/>
          <a:stretch/>
        </p:blipFill>
        <p:spPr>
          <a:xfrm>
            <a:off x="7084011" y="3431964"/>
            <a:ext cx="4043415" cy="1123337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8107689" y="2928755"/>
            <a:ext cx="1996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in</a:t>
            </a:r>
            <a:r>
              <a:rPr lang="en-US" altLang="ko-KR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</a:t>
            </a:r>
            <a:r>
              <a:rPr lang="ko-KR" altLang="en-US" b="1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x</a:t>
            </a: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스케일링</a:t>
            </a:r>
            <a:endParaRPr lang="ko-KR" altLang="en-US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6727255" y="4731210"/>
            <a:ext cx="4781764" cy="172667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직사각형 55"/>
          <p:cNvSpPr/>
          <p:nvPr/>
        </p:nvSpPr>
        <p:spPr>
          <a:xfrm>
            <a:off x="8216288" y="4731210"/>
            <a:ext cx="1803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obust </a:t>
            </a:r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링</a:t>
            </a:r>
            <a:endParaRPr lang="ko-KR" altLang="en-US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6">
            <a:biLevel thresh="75000"/>
          </a:blip>
          <a:srcRect t="9032" b="23440"/>
          <a:stretch/>
        </p:blipFill>
        <p:spPr>
          <a:xfrm>
            <a:off x="7019142" y="5231775"/>
            <a:ext cx="4197991" cy="725541"/>
          </a:xfrm>
          <a:prstGeom prst="rect">
            <a:avLst/>
          </a:prstGeom>
        </p:spPr>
      </p:pic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81483"/>
              </p:ext>
            </p:extLst>
          </p:nvPr>
        </p:nvGraphicFramePr>
        <p:xfrm>
          <a:off x="507335" y="2918188"/>
          <a:ext cx="5157894" cy="35396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46543">
                  <a:extLst>
                    <a:ext uri="{9D8B030D-6E8A-4147-A177-3AD203B41FA5}">
                      <a16:colId xmlns:a16="http://schemas.microsoft.com/office/drawing/2014/main" val="491733088"/>
                    </a:ext>
                  </a:extLst>
                </a:gridCol>
                <a:gridCol w="1864043">
                  <a:extLst>
                    <a:ext uri="{9D8B030D-6E8A-4147-A177-3AD203B41FA5}">
                      <a16:colId xmlns:a16="http://schemas.microsoft.com/office/drawing/2014/main" val="900502909"/>
                    </a:ext>
                  </a:extLst>
                </a:gridCol>
                <a:gridCol w="1747308">
                  <a:extLst>
                    <a:ext uri="{9D8B030D-6E8A-4147-A177-3AD203B41FA5}">
                      <a16:colId xmlns:a16="http://schemas.microsoft.com/office/drawing/2014/main" val="1478151196"/>
                    </a:ext>
                  </a:extLst>
                </a:gridCol>
              </a:tblGrid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rgbClr val="FF0000"/>
                          </a:solidFill>
                        </a:rPr>
                        <a:t>시점</a:t>
                      </a:r>
                      <a:r>
                        <a:rPr lang="en-US" altLang="ko-KR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ko-KR" altLang="en-US" dirty="0" err="1" smtClean="0">
                          <a:solidFill>
                            <a:srgbClr val="FF0000"/>
                          </a:solidFill>
                        </a:rPr>
                        <a:t>기준열</a:t>
                      </a:r>
                      <a:r>
                        <a:rPr lang="en-US" altLang="ko-KR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ko-KR" altLang="en-US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인구이동데이터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PIR</a:t>
                      </a:r>
                      <a:r>
                        <a:rPr lang="ko-KR" altLang="en-US" dirty="0" smtClean="0"/>
                        <a:t>지수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3424972"/>
                  </a:ext>
                </a:extLst>
              </a:tr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013.01</a:t>
                      </a:r>
                      <a:endParaRPr lang="ko-KR" altLang="en-US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00000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00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5582193"/>
                  </a:ext>
                </a:extLst>
              </a:tr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013.02</a:t>
                      </a:r>
                      <a:endParaRPr lang="ko-KR" altLang="en-US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00000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10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0147104"/>
                  </a:ext>
                </a:extLst>
              </a:tr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013.03</a:t>
                      </a:r>
                      <a:endParaRPr lang="ko-KR" altLang="en-US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300000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20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3575443"/>
                  </a:ext>
                </a:extLst>
              </a:tr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…</a:t>
                      </a:r>
                      <a:endParaRPr lang="ko-KR" altLang="en-US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…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…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5934849"/>
                  </a:ext>
                </a:extLst>
              </a:tr>
              <a:tr h="5899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023.12</a:t>
                      </a:r>
                      <a:endParaRPr lang="ko-KR" altLang="en-US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000000</a:t>
                      </a:r>
                      <a:endParaRPr lang="ko-KR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40</a:t>
                      </a:r>
                      <a:endParaRPr lang="ko-KR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508227"/>
                  </a:ext>
                </a:extLst>
              </a:tr>
            </a:tbl>
          </a:graphicData>
        </a:graphic>
      </p:graphicFrame>
      <p:grpSp>
        <p:nvGrpSpPr>
          <p:cNvPr id="68" name="그룹 6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7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7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7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7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970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3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모델 구축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1) 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436207" y="1000957"/>
            <a:ext cx="1319592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3074" name="Picture 2" descr="Machine Learning Generic Gradient icon"/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749" y="844704"/>
            <a:ext cx="774171" cy="7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5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5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6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55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1894616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  <a:alpha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375461" y="2523316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6384032" y="2472327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2145080" y="2080220"/>
            <a:ext cx="1882405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기존 모델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7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7427455" y="2029231"/>
            <a:ext cx="3334796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결과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8" name="삼각형 1">
            <a:extLst>
              <a:ext uri="{FF2B5EF4-FFF2-40B4-BE49-F238E27FC236}">
                <a16:creationId xmlns:a16="http://schemas.microsoft.com/office/drawing/2014/main" id="{EA4073C8-AC7A-E307-1634-C2E5CB479987}"/>
              </a:ext>
            </a:extLst>
          </p:cNvPr>
          <p:cNvSpPr/>
          <p:nvPr/>
        </p:nvSpPr>
        <p:spPr>
          <a:xfrm rot="5400000">
            <a:off x="4203587" y="4228977"/>
            <a:ext cx="3744417" cy="333104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82872" y="2737836"/>
            <a:ext cx="5206821" cy="1219950"/>
          </a:xfrm>
          <a:prstGeom prst="roundRect">
            <a:avLst>
              <a:gd name="adj" fmla="val 8673"/>
            </a:avLst>
          </a:prstGeom>
          <a:solidFill>
            <a:schemeClr val="accent4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54085" y="3131305"/>
            <a:ext cx="5064395" cy="747198"/>
            <a:chOff x="551384" y="3418861"/>
            <a:chExt cx="5064395" cy="747198"/>
          </a:xfrm>
        </p:grpSpPr>
        <p:grpSp>
          <p:nvGrpSpPr>
            <p:cNvPr id="39" name="그룹 38"/>
            <p:cNvGrpSpPr/>
            <p:nvPr/>
          </p:nvGrpSpPr>
          <p:grpSpPr>
            <a:xfrm>
              <a:off x="551384" y="3418861"/>
              <a:ext cx="2147076" cy="747198"/>
              <a:chOff x="3766979" y="1919140"/>
              <a:chExt cx="2147076" cy="747198"/>
            </a:xfrm>
          </p:grpSpPr>
          <p:sp>
            <p:nvSpPr>
              <p:cNvPr id="40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3766979" y="1919140"/>
                <a:ext cx="2147076" cy="747198"/>
              </a:xfrm>
              <a:prstGeom prst="roundRect">
                <a:avLst>
                  <a:gd name="adj" fmla="val 8673"/>
                </a:avLst>
              </a:prstGeom>
              <a:solidFill>
                <a:sysClr val="window" lastClr="FFFFFF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2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41" name="직사각형 40"/>
              <p:cNvSpPr/>
              <p:nvPr/>
            </p:nvSpPr>
            <p:spPr>
              <a:xfrm>
                <a:off x="4165492" y="1938796"/>
                <a:ext cx="1350050" cy="70788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ko-KR" altLang="en-US" sz="20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동 데이터</a:t>
                </a:r>
                <a:endParaRPr lang="en-US" altLang="ko-KR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en-US" altLang="ko-KR" sz="20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8 </a:t>
                </a:r>
                <a:r>
                  <a:rPr lang="ko-KR" altLang="en-US" sz="20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가지 변수</a:t>
                </a:r>
                <a:endPara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45" name="오른쪽 화살표 89">
              <a:extLst>
                <a:ext uri="{FF2B5EF4-FFF2-40B4-BE49-F238E27FC236}">
                  <a16:creationId xmlns:a16="http://schemas.microsoft.com/office/drawing/2014/main" id="{B8B02F69-DD09-CFD5-C365-99D3B0E45D95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2868707" y="3558018"/>
              <a:ext cx="429749" cy="468884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3468703" y="3418861"/>
              <a:ext cx="2147076" cy="747198"/>
              <a:chOff x="3468703" y="3434503"/>
              <a:chExt cx="2147076" cy="747198"/>
            </a:xfrm>
          </p:grpSpPr>
          <p:sp>
            <p:nvSpPr>
              <p:cNvPr id="43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3468703" y="3434503"/>
                <a:ext cx="2147076" cy="747198"/>
              </a:xfrm>
              <a:prstGeom prst="roundRect">
                <a:avLst>
                  <a:gd name="adj" fmla="val 8673"/>
                </a:avLst>
              </a:prstGeom>
              <a:solidFill>
                <a:sysClr val="window" lastClr="FFFFFF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2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46" name="직사각형 45"/>
              <p:cNvSpPr/>
              <p:nvPr/>
            </p:nvSpPr>
            <p:spPr>
              <a:xfrm>
                <a:off x="3893666" y="3608047"/>
                <a:ext cx="1297150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sz="20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4</a:t>
                </a:r>
                <a:r>
                  <a:rPr lang="ko-KR" altLang="en-US" sz="20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가지 변수</a:t>
                </a:r>
                <a:endParaRPr lang="en-US" altLang="ko-KR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sp>
        <p:nvSpPr>
          <p:cNvPr id="47" name="직사각형 46"/>
          <p:cNvSpPr/>
          <p:nvPr/>
        </p:nvSpPr>
        <p:spPr>
          <a:xfrm>
            <a:off x="2569955" y="2817120"/>
            <a:ext cx="1032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차원 축소</a:t>
            </a:r>
            <a:endParaRPr lang="en-US" altLang="ko-KR" sz="2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84423" y="4365355"/>
            <a:ext cx="5220860" cy="1585880"/>
          </a:xfrm>
          <a:prstGeom prst="roundRect">
            <a:avLst>
              <a:gd name="adj" fmla="val 8673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6464967" y="4523153"/>
            <a:ext cx="5259773" cy="12702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추가 독립 변수의 필요성 인지</a:t>
            </a:r>
            <a:r>
              <a:rPr lang="en-US" altLang="ko-KR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!</a:t>
            </a: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국 아파트 매매 </a:t>
            </a:r>
            <a:r>
              <a:rPr lang="ko-KR" altLang="en-US" sz="20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실거래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지수에 대한 </a:t>
            </a:r>
            <a:r>
              <a:rPr lang="ko-KR" altLang="en-US" sz="20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률을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확보하여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0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별 데이터와 혼합하여 성능 향상 </a:t>
            </a:r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도모</a:t>
            </a:r>
            <a:endParaRPr lang="en-US" altLang="ko-KR" sz="20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8" name="Trapezoid 286">
            <a:extLst>
              <a:ext uri="{FF2B5EF4-FFF2-40B4-BE49-F238E27FC236}">
                <a16:creationId xmlns:a16="http://schemas.microsoft.com/office/drawing/2014/main" id="{75E610CD-43CD-1472-AFC9-49056358AEE0}"/>
              </a:ext>
            </a:extLst>
          </p:cNvPr>
          <p:cNvSpPr/>
          <p:nvPr/>
        </p:nvSpPr>
        <p:spPr>
          <a:xfrm>
            <a:off x="6550824" y="3957786"/>
            <a:ext cx="5092700" cy="422049"/>
          </a:xfrm>
          <a:prstGeom prst="trapezoid">
            <a:avLst>
              <a:gd name="adj" fmla="val 297434"/>
            </a:avLst>
          </a:prstGeom>
          <a:gradFill flip="none" rotWithShape="1">
            <a:gsLst>
              <a:gs pos="1000">
                <a:sysClr val="window" lastClr="FFFFFF">
                  <a:lumMod val="85000"/>
                </a:sysClr>
              </a:gs>
              <a:gs pos="64000">
                <a:sysClr val="windowText" lastClr="000000">
                  <a:lumMod val="50000"/>
                  <a:lumOff val="50000"/>
                  <a:alpha val="80000"/>
                </a:sysClr>
              </a:gs>
              <a:gs pos="100000">
                <a:srgbClr val="232F3E">
                  <a:alpha val="95000"/>
                </a:srgbClr>
              </a:gs>
            </a:gsLst>
            <a:lin ang="5400000" scaled="1"/>
            <a:tileRect/>
          </a:gra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120000"/>
              </a:lnSpc>
              <a:defRPr/>
            </a:pPr>
            <a:endParaRPr lang="ko-KR" altLang="en-US" sz="1477" i="1" u="sng">
              <a:solidFill>
                <a:prstClr val="white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7563354" y="2737836"/>
            <a:ext cx="3096346" cy="1219950"/>
          </a:xfrm>
          <a:prstGeom prst="roundRect">
            <a:avLst>
              <a:gd name="adj" fmla="val 8673"/>
            </a:avLst>
          </a:prstGeom>
          <a:solidFill>
            <a:schemeClr val="accent4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20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8038659" y="2845120"/>
            <a:ext cx="2145737" cy="1005383"/>
            <a:chOff x="7991096" y="3017627"/>
            <a:chExt cx="2145737" cy="1005383"/>
          </a:xfrm>
        </p:grpSpPr>
        <p:pic>
          <p:nvPicPr>
            <p:cNvPr id="4" name="Picture 2" descr="Bad Special Lineal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1096" y="3017627"/>
              <a:ext cx="1005383" cy="1005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직사각형 51"/>
            <p:cNvSpPr/>
            <p:nvPr/>
          </p:nvSpPr>
          <p:spPr>
            <a:xfrm>
              <a:off x="9192344" y="3258708"/>
              <a:ext cx="944489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28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d!</a:t>
              </a:r>
              <a:endPara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482871" y="5000953"/>
            <a:ext cx="5206821" cy="1164351"/>
            <a:chOff x="482871" y="4576119"/>
            <a:chExt cx="5206821" cy="1164351"/>
          </a:xfrm>
        </p:grpSpPr>
        <p:sp>
          <p:nvSpPr>
            <p:cNvPr id="73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82871" y="4596048"/>
              <a:ext cx="5206821" cy="1124494"/>
            </a:xfrm>
            <a:prstGeom prst="roundRect">
              <a:avLst>
                <a:gd name="adj" fmla="val 8673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20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11" name="그룹 10"/>
            <p:cNvGrpSpPr/>
            <p:nvPr/>
          </p:nvGrpSpPr>
          <p:grpSpPr>
            <a:xfrm>
              <a:off x="1425868" y="4576119"/>
              <a:ext cx="3320827" cy="1164351"/>
              <a:chOff x="1434811" y="5130720"/>
              <a:chExt cx="3320827" cy="1164351"/>
            </a:xfrm>
          </p:grpSpPr>
          <p:pic>
            <p:nvPicPr>
              <p:cNvPr id="3076" name="Picture 4" descr="overfitting Icon - Free PNG &amp; SVG 4998561 - Noun Project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4811" y="5130720"/>
                <a:ext cx="1164351" cy="1164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" name="직사각형 69"/>
              <p:cNvSpPr/>
              <p:nvPr/>
            </p:nvSpPr>
            <p:spPr>
              <a:xfrm>
                <a:off x="2738739" y="5482063"/>
                <a:ext cx="201689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ko-KR" altLang="en-US" sz="2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과대 적합 발생</a:t>
                </a:r>
                <a:r>
                  <a:rPr lang="en-US" altLang="ko-KR" sz="2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!</a:t>
                </a:r>
                <a:endParaRPr lang="en-US" altLang="ko-KR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pic>
        <p:nvPicPr>
          <p:cNvPr id="71" name="그림 7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191187" y="4284705"/>
            <a:ext cx="3790192" cy="38933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1096503" y="4044880"/>
            <a:ext cx="1206145" cy="830997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전입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전출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순이동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간전입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간전출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내이동</a:t>
            </a:r>
            <a:r>
              <a:rPr lang="ko-KR" altLang="en-US" sz="6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시군구내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내이동</a:t>
            </a:r>
            <a:r>
              <a:rPr lang="ko-KR" altLang="en-US" sz="6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시군구간</a:t>
            </a:r>
            <a:r>
              <a:rPr lang="ko-KR" altLang="en-US" sz="6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전입</a:t>
            </a: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내이동</a:t>
            </a:r>
            <a:r>
              <a:rPr lang="ko-KR" altLang="en-US" sz="6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시군구간</a:t>
            </a:r>
            <a:r>
              <a:rPr lang="ko-KR" altLang="en-US" sz="6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전출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3941869" y="4044880"/>
            <a:ext cx="1206145" cy="461665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전입</a:t>
            </a:r>
            <a:endParaRPr lang="en-US" altLang="ko-KR" sz="6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전출</a:t>
            </a:r>
            <a:endParaRPr lang="en-US" altLang="ko-KR" sz="6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간전입</a:t>
            </a:r>
            <a:endParaRPr lang="en-US" altLang="ko-KR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600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도간전출</a:t>
            </a:r>
            <a:endParaRPr lang="ko-KR" altLang="en-US" sz="6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0824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3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모델 구축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 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5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5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6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6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255679" y="1196752"/>
            <a:ext cx="5454176" cy="1382661"/>
          </a:xfrm>
          <a:prstGeom prst="roundRect">
            <a:avLst>
              <a:gd name="adj" fmla="val 8673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6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8366680" y="1196752"/>
            <a:ext cx="12321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Robust</a:t>
            </a:r>
            <a:endParaRPr lang="en-US" altLang="ko-KR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7088821" y="1472584"/>
            <a:ext cx="378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상자수염그림</a:t>
            </a:r>
            <a:endParaRPr lang="en-US" altLang="ko-KR" sz="20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상치 발견</a:t>
            </a:r>
            <a:r>
              <a:rPr lang="ko-KR" altLang="en-US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되는 변수들 확인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255679" y="2742828"/>
            <a:ext cx="5454176" cy="3211359"/>
          </a:xfrm>
          <a:prstGeom prst="roundRect">
            <a:avLst>
              <a:gd name="adj" fmla="val 3997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6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7164374" y="2579412"/>
            <a:ext cx="3972186" cy="3270943"/>
            <a:chOff x="7164374" y="2579413"/>
            <a:chExt cx="3636786" cy="2994754"/>
          </a:xfrm>
        </p:grpSpPr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82" idx="0"/>
              <a:endCxn id="63" idx="2"/>
            </p:cNvCxnSpPr>
            <p:nvPr/>
          </p:nvCxnSpPr>
          <p:spPr>
            <a:xfrm flipV="1">
              <a:off x="8982767" y="2579413"/>
              <a:ext cx="0" cy="163415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4374" y="2852936"/>
              <a:ext cx="3636786" cy="2721231"/>
            </a:xfrm>
            <a:prstGeom prst="roundRect">
              <a:avLst>
                <a:gd name="adj" fmla="val 3627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  <a:effectLst/>
          </p:spPr>
        </p:pic>
        <p:sp>
          <p:nvSpPr>
            <p:cNvPr id="17" name="직사각형 16"/>
            <p:cNvSpPr/>
            <p:nvPr/>
          </p:nvSpPr>
          <p:spPr>
            <a:xfrm>
              <a:off x="9892266" y="4145724"/>
              <a:ext cx="157201" cy="104263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8083401" y="4815177"/>
              <a:ext cx="163453" cy="76828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8089654" y="5501978"/>
              <a:ext cx="163453" cy="37242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8089654" y="4145724"/>
              <a:ext cx="163453" cy="37242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9" name="직사각형 78"/>
            <p:cNvSpPr/>
            <p:nvPr/>
          </p:nvSpPr>
          <p:spPr>
            <a:xfrm>
              <a:off x="9880266" y="3468863"/>
              <a:ext cx="163453" cy="37242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9887618" y="4603194"/>
              <a:ext cx="156101" cy="6516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8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82145" y="1196752"/>
            <a:ext cx="5452852" cy="4757435"/>
          </a:xfrm>
          <a:prstGeom prst="roundRect">
            <a:avLst>
              <a:gd name="adj" fmla="val 5470"/>
            </a:avLst>
          </a:prstGeom>
          <a:solidFill>
            <a:schemeClr val="accent4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6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2443680" y="1196752"/>
            <a:ext cx="15297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Min-Max</a:t>
            </a:r>
            <a:endParaRPr lang="en-US" altLang="ko-KR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820577" y="2790639"/>
            <a:ext cx="477598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3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포를 유지하면서 </a:t>
            </a:r>
            <a:endParaRPr lang="en-US" altLang="ko-KR" sz="3200" dirty="0" smtClean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32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을 조정</a:t>
            </a:r>
            <a:r>
              <a:rPr lang="ko-KR" altLang="en-US" sz="3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하기 </a:t>
            </a:r>
            <a:r>
              <a:rPr lang="ko-KR" altLang="en-US" sz="32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위해 선택</a:t>
            </a:r>
            <a:endParaRPr lang="en-US" altLang="ko-KR" sz="3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99374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188555" y="606526"/>
            <a:ext cx="11796106" cy="4393262"/>
          </a:xfrm>
          <a:prstGeom prst="roundRect">
            <a:avLst>
              <a:gd name="adj" fmla="val 3869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1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3) 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5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요</a:t>
              </a:r>
            </a:p>
          </p:txBody>
        </p:sp>
        <p:sp>
          <p:nvSpPr>
            <p:cNvPr id="5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팀원 소개 및 역할</a:t>
              </a:r>
            </a:p>
          </p:txBody>
        </p:sp>
        <p:sp>
          <p:nvSpPr>
            <p:cNvPr id="6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발 과정</a:t>
              </a:r>
            </a:p>
          </p:txBody>
        </p:sp>
        <p:sp>
          <p:nvSpPr>
            <p:cNvPr id="6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론</a:t>
              </a:r>
            </a:p>
          </p:txBody>
        </p:sp>
        <p:sp>
          <p:nvSpPr>
            <p:cNvPr id="6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121" name="그룹 120"/>
          <p:cNvGrpSpPr/>
          <p:nvPr/>
        </p:nvGrpSpPr>
        <p:grpSpPr>
          <a:xfrm>
            <a:off x="394189" y="794289"/>
            <a:ext cx="11384838" cy="4017736"/>
            <a:chOff x="479376" y="779416"/>
            <a:chExt cx="11384838" cy="4017736"/>
          </a:xfrm>
        </p:grpSpPr>
        <p:sp>
          <p:nvSpPr>
            <p:cNvPr id="92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79376" y="779416"/>
              <a:ext cx="2747349" cy="4017736"/>
            </a:xfrm>
            <a:prstGeom prst="roundRect">
              <a:avLst>
                <a:gd name="adj" fmla="val 386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1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grpSp>
          <p:nvGrpSpPr>
            <p:cNvPr id="108" name="그룹 107"/>
            <p:cNvGrpSpPr/>
            <p:nvPr/>
          </p:nvGrpSpPr>
          <p:grpSpPr>
            <a:xfrm>
              <a:off x="636659" y="1496967"/>
              <a:ext cx="2403852" cy="701390"/>
              <a:chOff x="595708" y="1325376"/>
              <a:chExt cx="2403852" cy="701390"/>
            </a:xfrm>
          </p:grpSpPr>
          <p:sp>
            <p:nvSpPr>
              <p:cNvPr id="84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595708" y="1325376"/>
                <a:ext cx="2403852" cy="701390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1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81" name="텍스트 개체 틀 11">
                <a:extLst>
                  <a:ext uri="{FF2B5EF4-FFF2-40B4-BE49-F238E27FC236}">
                    <a16:creationId xmlns:a16="http://schemas.microsoft.com/office/drawing/2014/main" id="{071DFA8E-9CA5-5A2E-2321-E7FB8C772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5708" y="1325377"/>
                <a:ext cx="2403852" cy="7013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ko-KR" altLang="en-US" sz="1200" b="1" dirty="0" err="1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결정계수</a:t>
                </a:r>
                <a:r>
                  <a:rPr lang="ko-KR" altLang="en-US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 </a:t>
                </a:r>
                <a:r>
                  <a:rPr lang="en-US" altLang="ko-KR" sz="1200" b="1" dirty="0" smtClean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0.92~0.93</a:t>
                </a:r>
                <a:endParaRPr lang="en-US" altLang="ko-KR" sz="1200" b="1" dirty="0" smtClean="0">
                  <a:solidFill>
                    <a:srgbClr val="FF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성능향상을 위해 다항식 </a:t>
                </a:r>
                <a:r>
                  <a:rPr lang="ko-KR" altLang="en-US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변환을 </a:t>
                </a:r>
                <a:endParaRPr lang="en-US" altLang="ko-KR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각각 적용했음</a:t>
                </a:r>
                <a:endParaRPr lang="ko-KR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</p:txBody>
          </p:sp>
        </p:grpSp>
        <p:grpSp>
          <p:nvGrpSpPr>
            <p:cNvPr id="118" name="그룹 117"/>
            <p:cNvGrpSpPr/>
            <p:nvPr/>
          </p:nvGrpSpPr>
          <p:grpSpPr>
            <a:xfrm>
              <a:off x="636659" y="2705729"/>
              <a:ext cx="2403852" cy="746612"/>
              <a:chOff x="636659" y="2512412"/>
              <a:chExt cx="2403852" cy="746612"/>
            </a:xfrm>
          </p:grpSpPr>
          <p:sp>
            <p:nvSpPr>
              <p:cNvPr id="85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36659" y="2512412"/>
                <a:ext cx="2403852" cy="701390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1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31" name="직사각형 30"/>
              <p:cNvSpPr/>
              <p:nvPr/>
            </p:nvSpPr>
            <p:spPr>
              <a:xfrm>
                <a:off x="1360060" y="2512412"/>
                <a:ext cx="95705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ko-KR" sz="12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egree 2</a:t>
                </a:r>
                <a:endPara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87" name="직사각형 86"/>
              <p:cNvSpPr/>
              <p:nvPr/>
            </p:nvSpPr>
            <p:spPr>
              <a:xfrm>
                <a:off x="1060374" y="2735804"/>
                <a:ext cx="1556423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400" b="1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계수는</a:t>
                </a:r>
                <a:r>
                  <a:rPr lang="ko-KR" altLang="en-US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향상</a:t>
                </a:r>
                <a:r>
                  <a:rPr lang="en-US" altLang="ko-KR" sz="1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but </a:t>
                </a:r>
                <a:r>
                  <a:rPr lang="ko-KR" altLang="en-US" sz="1400" b="1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과대적합</a:t>
                </a:r>
                <a:r>
                  <a:rPr lang="ko-KR" altLang="en-US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발생</a:t>
                </a:r>
              </a:p>
            </p:txBody>
          </p:sp>
        </p:grpSp>
        <p:grpSp>
          <p:nvGrpSpPr>
            <p:cNvPr id="109" name="그룹 108"/>
            <p:cNvGrpSpPr/>
            <p:nvPr/>
          </p:nvGrpSpPr>
          <p:grpSpPr>
            <a:xfrm>
              <a:off x="636659" y="3958499"/>
              <a:ext cx="2403852" cy="701390"/>
              <a:chOff x="657285" y="2452326"/>
              <a:chExt cx="2403852" cy="701390"/>
            </a:xfrm>
          </p:grpSpPr>
          <p:sp>
            <p:nvSpPr>
              <p:cNvPr id="8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7285" y="2452326"/>
                <a:ext cx="2403852" cy="701390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100" dirty="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89" name="직사각형 88"/>
              <p:cNvSpPr/>
              <p:nvPr/>
            </p:nvSpPr>
            <p:spPr>
              <a:xfrm>
                <a:off x="933715" y="2452326"/>
                <a:ext cx="185099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2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egree 3, Degree 4</a:t>
                </a:r>
                <a:endPara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90" name="직사각형 89"/>
              <p:cNvSpPr/>
              <p:nvPr/>
            </p:nvSpPr>
            <p:spPr>
              <a:xfrm>
                <a:off x="1413857" y="2751523"/>
                <a:ext cx="89070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400" b="1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능악화</a:t>
                </a:r>
                <a:endPara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94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587897" y="779416"/>
              <a:ext cx="8276317" cy="4017736"/>
            </a:xfrm>
            <a:prstGeom prst="roundRect">
              <a:avLst>
                <a:gd name="adj" fmla="val 3869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6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95" name="텍스트 개체 틀 11">
              <a:extLst>
                <a:ext uri="{FF2B5EF4-FFF2-40B4-BE49-F238E27FC236}">
                  <a16:creationId xmlns:a16="http://schemas.microsoft.com/office/drawing/2014/main" id="{071DFA8E-9CA5-5A2E-2321-E7FB8C77277E}"/>
                </a:ext>
              </a:extLst>
            </p:cNvPr>
            <p:cNvSpPr txBox="1">
              <a:spLocks/>
            </p:cNvSpPr>
            <p:nvPr/>
          </p:nvSpPr>
          <p:spPr>
            <a:xfrm>
              <a:off x="6789250" y="779416"/>
              <a:ext cx="1873610" cy="4981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marL="0" lvl="0" indent="0" algn="just" defTabSz="914400" rtl="0" eaLnBrk="1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ts val="1800"/>
                <a:buFont typeface="Arial" panose="020B0604020202020204" pitchFamily="34" charset="0"/>
                <a:buNone/>
                <a:defRPr sz="1600" b="0" kern="1200">
                  <a:solidFill>
                    <a:srgbClr val="404040"/>
                  </a:solidFill>
                  <a:latin typeface="Pretendard" panose="02000503000000000000" pitchFamily="2" charset="-127"/>
                  <a:ea typeface="Pretendard" panose="02000503000000000000" pitchFamily="2" charset="-127"/>
                  <a:cs typeface="Pretendard" panose="02000503000000020004" pitchFamily="50" charset="-127"/>
                </a:defRPr>
              </a:lvl1pPr>
              <a:lvl2pPr marL="914423" lvl="1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71634" lvl="2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846" lvl="3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86057" lvl="4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69" lvl="5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00480" lvl="6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7691" lvl="7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14903" lvl="8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800" b="1" u="sng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rPr>
                <a:t>과대적합</a:t>
              </a:r>
              <a:r>
                <a:rPr lang="ko-KR" altLang="en-US" sz="1800" b="1" u="sng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rPr>
                <a:t> 해결 시도</a:t>
              </a:r>
              <a:endParaRPr lang="ko-KR" altLang="en-US" sz="18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  <p:grpSp>
          <p:nvGrpSpPr>
            <p:cNvPr id="35" name="그룹 34"/>
            <p:cNvGrpSpPr/>
            <p:nvPr/>
          </p:nvGrpSpPr>
          <p:grpSpPr>
            <a:xfrm>
              <a:off x="3974472" y="1496967"/>
              <a:ext cx="3689663" cy="1401289"/>
              <a:chOff x="7172757" y="1430899"/>
              <a:chExt cx="4464496" cy="1695560"/>
            </a:xfrm>
          </p:grpSpPr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7172757" y="1448356"/>
                <a:ext cx="4464496" cy="1678103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2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97" name="텍스트 개체 틀 11">
                <a:extLst>
                  <a:ext uri="{FF2B5EF4-FFF2-40B4-BE49-F238E27FC236}">
                    <a16:creationId xmlns:a16="http://schemas.microsoft.com/office/drawing/2014/main" id="{071DFA8E-9CA5-5A2E-2321-E7FB8C772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86143" y="1430899"/>
                <a:ext cx="1686417" cy="3684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L1(Lasso)</a:t>
                </a:r>
                <a:endParaRPr lang="ko-KR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</p:txBody>
          </p:sp>
          <p:sp>
            <p:nvSpPr>
              <p:cNvPr id="34" name="직사각형 33"/>
              <p:cNvSpPr/>
              <p:nvPr/>
            </p:nvSpPr>
            <p:spPr>
              <a:xfrm>
                <a:off x="7252801" y="1766506"/>
                <a:ext cx="4304408" cy="11544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1)</a:t>
                </a:r>
                <a:r>
                  <a:rPr lang="ko-KR" altLang="en-US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계수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: 0.983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)</a:t>
                </a:r>
                <a:r>
                  <a:rPr lang="ko-KR" altLang="en-US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Train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MSE : 2.7359 /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Test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MSE:3.9460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3)</a:t>
                </a:r>
                <a:r>
                  <a:rPr lang="ko-KR" altLang="en-US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K-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Fold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평균 MSE:5.2754</a:t>
                </a:r>
              </a:p>
              <a:p>
                <a:pPr algn="ctr"/>
                <a:r>
                  <a:rPr lang="ko-KR" altLang="en-US" sz="1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* </a:t>
                </a:r>
                <a:r>
                  <a:rPr lang="ko-KR" altLang="en-US" sz="1400" b="1" u="sng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과대적합</a:t>
                </a:r>
                <a:r>
                  <a:rPr lang="ko-KR" altLang="en-US" sz="1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다소 </a:t>
                </a:r>
                <a:r>
                  <a:rPr lang="ko-KR" altLang="en-US" sz="1400" b="1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개선</a:t>
                </a:r>
                <a:endPara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9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8058384" y="1512694"/>
              <a:ext cx="3689663" cy="1386861"/>
            </a:xfrm>
            <a:prstGeom prst="roundRect">
              <a:avLst>
                <a:gd name="adj" fmla="val 8673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2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99" name="텍스트 개체 틀 11">
              <a:extLst>
                <a:ext uri="{FF2B5EF4-FFF2-40B4-BE49-F238E27FC236}">
                  <a16:creationId xmlns:a16="http://schemas.microsoft.com/office/drawing/2014/main" id="{071DFA8E-9CA5-5A2E-2321-E7FB8C77277E}"/>
                </a:ext>
              </a:extLst>
            </p:cNvPr>
            <p:cNvSpPr txBox="1">
              <a:spLocks/>
            </p:cNvSpPr>
            <p:nvPr/>
          </p:nvSpPr>
          <p:spPr>
            <a:xfrm>
              <a:off x="9206349" y="1498267"/>
              <a:ext cx="1393732" cy="3044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marL="0" lvl="0" indent="0" algn="just" defTabSz="914400" rtl="0" eaLnBrk="1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ts val="1800"/>
                <a:buFont typeface="Arial" panose="020B0604020202020204" pitchFamily="34" charset="0"/>
                <a:buNone/>
                <a:defRPr sz="1600" b="0" kern="1200">
                  <a:solidFill>
                    <a:srgbClr val="404040"/>
                  </a:solidFill>
                  <a:latin typeface="Pretendard" panose="02000503000000000000" pitchFamily="2" charset="-127"/>
                  <a:ea typeface="Pretendard" panose="02000503000000000000" pitchFamily="2" charset="-127"/>
                  <a:cs typeface="Pretendard" panose="02000503000000020004" pitchFamily="50" charset="-127"/>
                </a:defRPr>
              </a:lvl1pPr>
              <a:lvl2pPr marL="914423" lvl="1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71634" lvl="2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846" lvl="3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86057" lvl="4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69" lvl="5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00480" lvl="6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7691" lvl="7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14903" lvl="8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rPr>
                <a:t>L2(Ridge)</a:t>
              </a:r>
              <a:endParaRPr lang="ko-KR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8124536" y="1775628"/>
              <a:ext cx="3557359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)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정 계수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: 0.978</a:t>
              </a:r>
            </a:p>
            <a:p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) Train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MSE:3.6552 / Test MSE:5.1577</a:t>
              </a:r>
            </a:p>
            <a:p>
              <a:r>
                <a: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) K-Fold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평균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MSE:6.3747</a:t>
              </a:r>
            </a:p>
            <a:p>
              <a:pPr algn="ctr"/>
              <a:r>
                <a:rPr lang="en-US" altLang="ko-KR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* </a:t>
              </a:r>
              <a:r>
                <a:rPr lang="ko-KR" altLang="en-US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예측력 감소</a:t>
              </a:r>
              <a:r>
                <a:rPr lang="en-US" altLang="ko-KR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평균 </a:t>
              </a:r>
              <a:r>
                <a:rPr lang="en-US" altLang="ko-KR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MSE </a:t>
              </a:r>
              <a:r>
                <a:rPr lang="ko-KR" altLang="en-US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증가 </a:t>
              </a:r>
              <a:r>
                <a:rPr lang="en-US" altLang="ko-KR" sz="1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= </a:t>
              </a:r>
              <a:r>
                <a:rPr lang="ko-KR" altLang="en-US" sz="1400" b="1" dirty="0" smtClean="0">
                  <a:solidFill>
                    <a:srgbClr val="FF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성능 감소</a:t>
              </a:r>
              <a:endParaRPr lang="ko-KR" altLang="en-US" sz="1400" b="1" dirty="0">
                <a:solidFill>
                  <a:srgbClr val="FF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37" name="그룹 36"/>
            <p:cNvGrpSpPr/>
            <p:nvPr/>
          </p:nvGrpSpPr>
          <p:grpSpPr>
            <a:xfrm>
              <a:off x="3974472" y="3212976"/>
              <a:ext cx="3755816" cy="1446913"/>
              <a:chOff x="7092713" y="5502383"/>
              <a:chExt cx="4544541" cy="1750766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7092713" y="5519840"/>
                <a:ext cx="4464496" cy="1678103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2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102" name="텍스트 개체 틀 11">
                <a:extLst>
                  <a:ext uri="{FF2B5EF4-FFF2-40B4-BE49-F238E27FC236}">
                    <a16:creationId xmlns:a16="http://schemas.microsoft.com/office/drawing/2014/main" id="{071DFA8E-9CA5-5A2E-2321-E7FB8C772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06099" y="5502383"/>
                <a:ext cx="2154397" cy="3684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1400" b="1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ElasticNet</a:t>
                </a:r>
                <a:r>
                  <a:rPr lang="en-US" altLang="ko-KR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L1 + L2)</a:t>
                </a:r>
                <a:endParaRPr lang="ko-KR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>
              <a:xfrm>
                <a:off x="7172758" y="5837991"/>
                <a:ext cx="4464496" cy="14151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1)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계수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: 0.948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)Train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:15.2791 / </a:t>
                </a:r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Test MSE:12.4829</a:t>
                </a:r>
                <a:endPara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3</a:t>
                </a:r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K-Fold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균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:20.2519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* </a:t>
                </a:r>
                <a:r>
                  <a:rPr lang="ko-KR" altLang="en-US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계수 감소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훈련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/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테스트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증가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endPara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  평균 </a:t>
                </a:r>
                <a:r>
                  <a:rPr lang="en-US" altLang="ko-KR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 </a:t>
                </a:r>
                <a:r>
                  <a:rPr lang="ko-KR" altLang="en-US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증가 </a:t>
                </a:r>
                <a:r>
                  <a:rPr lang="en-US" altLang="ko-KR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= </a:t>
                </a:r>
                <a:r>
                  <a:rPr lang="ko-KR" altLang="en-US" sz="14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능 감소</a:t>
                </a:r>
              </a:p>
            </p:txBody>
          </p:sp>
        </p:grpSp>
        <p:grpSp>
          <p:nvGrpSpPr>
            <p:cNvPr id="42" name="그룹 41"/>
            <p:cNvGrpSpPr/>
            <p:nvPr/>
          </p:nvGrpSpPr>
          <p:grpSpPr>
            <a:xfrm>
              <a:off x="8091460" y="3212976"/>
              <a:ext cx="3689663" cy="1446912"/>
              <a:chOff x="7132735" y="7725830"/>
              <a:chExt cx="4464496" cy="1750765"/>
            </a:xfrm>
          </p:grpSpPr>
          <p:sp>
            <p:nvSpPr>
              <p:cNvPr id="104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7132735" y="7743287"/>
                <a:ext cx="4464496" cy="1678103"/>
              </a:xfrm>
              <a:prstGeom prst="roundRect">
                <a:avLst>
                  <a:gd name="adj" fmla="val 867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2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105" name="텍스트 개체 틀 11">
                <a:extLst>
                  <a:ext uri="{FF2B5EF4-FFF2-40B4-BE49-F238E27FC236}">
                    <a16:creationId xmlns:a16="http://schemas.microsoft.com/office/drawing/2014/main" id="{071DFA8E-9CA5-5A2E-2321-E7FB8C772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87784" y="7725830"/>
                <a:ext cx="2154397" cy="3684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PCA(</a:t>
                </a:r>
                <a:r>
                  <a:rPr lang="ko-KR" altLang="en-US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주성분 분석</a:t>
                </a:r>
                <a:r>
                  <a:rPr lang="en-US" altLang="ko-KR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  <a:endParaRPr lang="ko-KR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</p:txBody>
          </p:sp>
          <p:sp>
            <p:nvSpPr>
              <p:cNvPr id="106" name="직사각형 105"/>
              <p:cNvSpPr/>
              <p:nvPr/>
            </p:nvSpPr>
            <p:spPr>
              <a:xfrm>
                <a:off x="7132735" y="8061437"/>
                <a:ext cx="4464496" cy="14151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1)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계수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: 0.912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)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Train MSE:4.4733 / Test MSE:22.9941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3)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K-Fold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균 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:388.6948</a:t>
                </a:r>
              </a:p>
              <a:p>
                <a:r>
                  <a:rPr lang="en-US" altLang="ko-KR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* </a:t>
                </a:r>
                <a:r>
                  <a:rPr lang="ko-KR" altLang="en-US" sz="1400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정계수</a:t>
                </a:r>
                <a:r>
                  <a:rPr lang="ko-KR" altLang="en-US" sz="1400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감소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1400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과대적합</a:t>
                </a:r>
                <a:r>
                  <a:rPr lang="ko-KR" altLang="en-US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여전</a:t>
                </a:r>
                <a:r>
                  <a:rPr lang="en-US" altLang="ko-KR" sz="14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endParaRPr lang="en-US" altLang="ko-KR" sz="1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en-US" altLang="ko-KR" sz="1400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  K-Fold </a:t>
                </a:r>
                <a:r>
                  <a:rPr lang="ko-KR" altLang="en-US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평균 </a:t>
                </a:r>
                <a:r>
                  <a:rPr lang="en-US" altLang="ko-KR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SE </a:t>
                </a:r>
                <a:r>
                  <a:rPr lang="ko-KR" altLang="en-US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급상승 </a:t>
                </a:r>
                <a:r>
                  <a:rPr lang="en-US" altLang="ko-KR" sz="1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-&gt; </a:t>
                </a:r>
                <a:r>
                  <a:rPr lang="ko-KR" altLang="en-US" sz="1400" b="1" dirty="0">
                    <a:solidFill>
                      <a:srgbClr val="FF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능 악화</a:t>
                </a:r>
              </a:p>
            </p:txBody>
          </p:sp>
        </p:grpSp>
        <p:sp>
          <p:nvSpPr>
            <p:cNvPr id="112" name="텍스트 개체 틀 11">
              <a:extLst>
                <a:ext uri="{FF2B5EF4-FFF2-40B4-BE49-F238E27FC236}">
                  <a16:creationId xmlns:a16="http://schemas.microsoft.com/office/drawing/2014/main" id="{071DFA8E-9CA5-5A2E-2321-E7FB8C77277E}"/>
                </a:ext>
              </a:extLst>
            </p:cNvPr>
            <p:cNvSpPr txBox="1">
              <a:spLocks/>
            </p:cNvSpPr>
            <p:nvPr/>
          </p:nvSpPr>
          <p:spPr>
            <a:xfrm>
              <a:off x="1372321" y="779416"/>
              <a:ext cx="961459" cy="4981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marL="0" lvl="0" indent="0" algn="just" defTabSz="914400" rtl="0" eaLnBrk="1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ts val="1800"/>
                <a:buFont typeface="Arial" panose="020B0604020202020204" pitchFamily="34" charset="0"/>
                <a:buNone/>
                <a:defRPr sz="1600" b="0" kern="1200">
                  <a:solidFill>
                    <a:srgbClr val="404040"/>
                  </a:solidFill>
                  <a:latin typeface="Pretendard" panose="02000503000000000000" pitchFamily="2" charset="-127"/>
                  <a:ea typeface="Pretendard" panose="02000503000000000000" pitchFamily="2" charset="-127"/>
                  <a:cs typeface="Pretendard" panose="02000503000000020004" pitchFamily="50" charset="-127"/>
                </a:defRPr>
              </a:lvl1pPr>
              <a:lvl2pPr marL="914423" lvl="1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71634" lvl="2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846" lvl="3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86057" lvl="4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69" lvl="5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00480" lvl="6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7691" lvl="7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14903" lvl="8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1800" b="1" u="sng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</a:rPr>
                <a:t>결과</a:t>
              </a:r>
              <a:endParaRPr lang="ko-KR" altLang="en-US" sz="18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</p:grpSp>
      <p:sp>
        <p:nvSpPr>
          <p:cNvPr id="11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188555" y="5375716"/>
            <a:ext cx="11796106" cy="1293898"/>
          </a:xfrm>
          <a:prstGeom prst="roundRect">
            <a:avLst>
              <a:gd name="adj" fmla="val 3869"/>
            </a:avLst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1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10" name="그림 109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4436238" y="5018668"/>
            <a:ext cx="3319525" cy="421535"/>
          </a:xfrm>
          <a:prstGeom prst="rect">
            <a:avLst/>
          </a:prstGeom>
        </p:spPr>
      </p:pic>
      <p:grpSp>
        <p:nvGrpSpPr>
          <p:cNvPr id="143" name="그룹 142"/>
          <p:cNvGrpSpPr/>
          <p:nvPr/>
        </p:nvGrpSpPr>
        <p:grpSpPr>
          <a:xfrm>
            <a:off x="394189" y="5496308"/>
            <a:ext cx="11384839" cy="1052714"/>
            <a:chOff x="394188" y="5496308"/>
            <a:chExt cx="11384839" cy="1052714"/>
          </a:xfrm>
        </p:grpSpPr>
        <p:grpSp>
          <p:nvGrpSpPr>
            <p:cNvPr id="123" name="그룹 122"/>
            <p:cNvGrpSpPr/>
            <p:nvPr/>
          </p:nvGrpSpPr>
          <p:grpSpPr>
            <a:xfrm>
              <a:off x="4930167" y="5847632"/>
              <a:ext cx="2403852" cy="701390"/>
              <a:chOff x="739011" y="5671970"/>
              <a:chExt cx="2403852" cy="701390"/>
            </a:xfrm>
          </p:grpSpPr>
          <p:sp>
            <p:nvSpPr>
              <p:cNvPr id="124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739011" y="5671970"/>
                <a:ext cx="2403852" cy="701390"/>
              </a:xfrm>
              <a:prstGeom prst="roundRect">
                <a:avLst>
                  <a:gd name="adj" fmla="val 8673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1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122" name="직사각형 121"/>
              <p:cNvSpPr/>
              <p:nvPr/>
            </p:nvSpPr>
            <p:spPr>
              <a:xfrm>
                <a:off x="809223" y="5699500"/>
                <a:ext cx="226342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obust + L1 </a:t>
                </a:r>
                <a:r>
                  <a:rPr lang="ko-KR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선택 </a:t>
                </a:r>
                <a:endParaRPr lang="en-US" altLang="ko-KR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en-US" altLang="ko-KR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(</a:t>
                </a:r>
                <a:r>
                  <a:rPr lang="ko-KR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가장 우수</a:t>
                </a:r>
                <a:r>
                  <a:rPr lang="en-US" altLang="ko-KR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!!)</a:t>
                </a:r>
                <a:endParaRPr lang="ko-KR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127" name="오른쪽 화살표 89">
              <a:extLst>
                <a:ext uri="{FF2B5EF4-FFF2-40B4-BE49-F238E27FC236}">
                  <a16:creationId xmlns:a16="http://schemas.microsoft.com/office/drawing/2014/main" id="{B8B02F69-DD09-CFD5-C365-99D3B0E45D95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 flipH="1">
              <a:off x="4294808" y="5981021"/>
              <a:ext cx="398337" cy="434612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28" name="오른쪽 화살표 89">
              <a:extLst>
                <a:ext uri="{FF2B5EF4-FFF2-40B4-BE49-F238E27FC236}">
                  <a16:creationId xmlns:a16="http://schemas.microsoft.com/office/drawing/2014/main" id="{B8B02F69-DD09-CFD5-C365-99D3B0E45D95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7571040" y="5981021"/>
              <a:ext cx="398337" cy="434612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3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94188" y="5847633"/>
              <a:ext cx="3663597" cy="701389"/>
            </a:xfrm>
            <a:prstGeom prst="roundRect">
              <a:avLst>
                <a:gd name="adj" fmla="val 8673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1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557080" y="6013661"/>
              <a:ext cx="333781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백선형</a:t>
              </a:r>
              <a:r>
                <a:rPr lang="ko-KR" alt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회귀 모델 </a:t>
              </a:r>
              <a:r>
                <a:rPr lang="en-US" altLang="ko-KR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/ </a:t>
              </a:r>
              <a:r>
                <a:rPr lang="ko-KR" altLang="en-US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딥러닝모델</a:t>
              </a:r>
              <a:r>
                <a:rPr lang="ko-KR" alt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구현</a:t>
              </a:r>
              <a:endPara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1380016" y="5496308"/>
              <a:ext cx="134844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6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추후 개발 방향</a:t>
              </a:r>
              <a:endParaRPr lang="en-US" altLang="ko-KR" sz="16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38" name="직사각형 137"/>
            <p:cNvSpPr/>
            <p:nvPr/>
          </p:nvSpPr>
          <p:spPr>
            <a:xfrm>
              <a:off x="5861826" y="5496308"/>
              <a:ext cx="54053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6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채택</a:t>
              </a:r>
              <a:endParaRPr lang="en-US" altLang="ko-KR" sz="16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32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8206398" y="5847633"/>
              <a:ext cx="3572629" cy="701389"/>
            </a:xfrm>
            <a:prstGeom prst="roundRect">
              <a:avLst>
                <a:gd name="adj" fmla="val 8673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1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8402568" y="6013661"/>
              <a:ext cx="318028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세종시 </a:t>
              </a:r>
              <a:r>
                <a:rPr lang="ko-KR" altLang="en-US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실거래지수</a:t>
              </a:r>
              <a:r>
                <a:rPr lang="ko-KR" alt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예측치</a:t>
              </a:r>
              <a:r>
                <a:rPr lang="ko-KR" altLang="en-US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시연</a:t>
              </a:r>
              <a:endParaRPr lang="ko-KR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9722446" y="5496308"/>
              <a:ext cx="54053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6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검증</a:t>
              </a:r>
              <a:endParaRPr lang="en-US" altLang="ko-KR" sz="16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6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프로젝트 개요</a:t>
            </a: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팀원 소개 및 역할</a:t>
            </a: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개발 과정</a:t>
            </a: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  <a:endParaRPr kumimoji="1" lang="en-US" altLang="ko-KR" sz="250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4) 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5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요</a:t>
              </a:r>
            </a:p>
          </p:txBody>
        </p:sp>
        <p:sp>
          <p:nvSpPr>
            <p:cNvPr id="5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팀원 소개 및 역할</a:t>
              </a:r>
            </a:p>
          </p:txBody>
        </p:sp>
        <p:sp>
          <p:nvSpPr>
            <p:cNvPr id="6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발 과정</a:t>
              </a:r>
            </a:p>
          </p:txBody>
        </p:sp>
        <p:sp>
          <p:nvSpPr>
            <p:cNvPr id="6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론</a:t>
              </a:r>
            </a:p>
          </p:txBody>
        </p:sp>
        <p:sp>
          <p:nvSpPr>
            <p:cNvPr id="6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8" name="직사각형 67"/>
          <p:cNvSpPr/>
          <p:nvPr/>
        </p:nvSpPr>
        <p:spPr>
          <a:xfrm>
            <a:off x="3995629" y="967656"/>
            <a:ext cx="42007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향후 방향성 </a:t>
            </a:r>
            <a:r>
              <a:rPr lang="en-US" altLang="ko-KR" sz="24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여전히 개선 필요</a:t>
            </a:r>
            <a:r>
              <a:rPr lang="en-US" altLang="ko-KR" sz="24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!!!)</a:t>
            </a:r>
            <a:endParaRPr lang="ko-KR" altLang="en-US" sz="2400" b="1" u="sng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479376" y="1525251"/>
            <a:ext cx="11233248" cy="4784069"/>
          </a:xfrm>
          <a:prstGeom prst="roundRect">
            <a:avLst>
              <a:gd name="adj" fmla="val 8673"/>
            </a:avLst>
          </a:prstGeom>
          <a:solidFill>
            <a:schemeClr val="accent2">
              <a:lumMod val="20000"/>
              <a:lumOff val="8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10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803412" y="1801856"/>
            <a:ext cx="99731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추후 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의사결정나무, </a:t>
            </a:r>
            <a:r>
              <a:rPr lang="ko-KR" altLang="en-US" sz="2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andomForest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XGBoost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등 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비선형 회귀 </a:t>
            </a:r>
            <a:r>
              <a:rPr lang="ko-KR" altLang="en-US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들과</a:t>
            </a:r>
            <a:r>
              <a:rPr lang="en-US" altLang="ko-KR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400" b="1" u="sng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딥러닝</a:t>
            </a:r>
            <a:r>
              <a:rPr lang="ko-KR" altLang="en-US" sz="24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알고리즘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에</a:t>
            </a:r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테스트하여 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능 향상을 도모할 </a:t>
            </a:r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정</a:t>
            </a:r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  <a:endParaRPr lang="ko-KR" altLang="en-US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6845" y="2585382"/>
            <a:ext cx="7278310" cy="3563654"/>
          </a:xfrm>
          <a:prstGeom prst="roundRect">
            <a:avLst>
              <a:gd name="adj" fmla="val 4741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  <a:prstDash val="dash"/>
          </a:ln>
          <a:effectLst/>
        </p:spPr>
      </p:pic>
    </p:spTree>
    <p:extLst>
      <p:ext uri="{BB962C8B-B14F-4D97-AF65-F5344CB8AC3E}">
        <p14:creationId xmlns:p14="http://schemas.microsoft.com/office/powerpoint/2010/main" val="165904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2722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4. </a:t>
            </a:r>
            <a:r>
              <a:rPr lang="ko-KR" altLang="en-US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시각화 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&amp; </a:t>
            </a:r>
            <a:r>
              <a:rPr lang="ko-KR" altLang="en-US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서비스 구축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1)</a:t>
            </a:r>
            <a:endParaRPr lang="ko-KR" altLang="en-US" sz="16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3501795" y="2368252"/>
            <a:ext cx="5262416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데이터 시각화 </a:t>
            </a:r>
            <a:r>
              <a:rPr lang="en-US" altLang="ko-KR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&amp;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서비스 </a:t>
            </a:r>
            <a:r>
              <a:rPr lang="ko-KR" alt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구축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207339" y="795963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9" name="그룹 8"/>
          <p:cNvGrpSpPr/>
          <p:nvPr/>
        </p:nvGrpSpPr>
        <p:grpSpPr>
          <a:xfrm>
            <a:off x="3559425" y="841392"/>
            <a:ext cx="5073151" cy="766054"/>
            <a:chOff x="3492999" y="841392"/>
            <a:chExt cx="5073151" cy="766054"/>
          </a:xfrm>
        </p:grpSpPr>
        <p:sp>
          <p:nvSpPr>
            <p:cNvPr id="15" name="직사각형 14"/>
            <p:cNvSpPr/>
            <p:nvPr/>
          </p:nvSpPr>
          <p:spPr>
            <a:xfrm>
              <a:off x="4286555" y="993587"/>
              <a:ext cx="3594254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시각화 </a:t>
              </a:r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amp; </a:t>
              </a:r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비스 구축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3" name="그림 2"/>
            <p:cNvPicPr>
              <a:picLocks noChangeAspect="1"/>
            </p:cNvPicPr>
            <p:nvPr/>
          </p:nvPicPr>
          <p:blipFill rotWithShape="1">
            <a:blip r:embed="rId4">
              <a:lum bright="70000" contrast="-70000"/>
            </a:blip>
            <a:srcRect l="60656" t="21763" r="10735" b="21763"/>
            <a:stretch/>
          </p:blipFill>
          <p:spPr>
            <a:xfrm>
              <a:off x="3492999" y="841392"/>
              <a:ext cx="777470" cy="766054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 rotWithShape="1">
            <a:blip r:embed="rId5">
              <a:lum bright="70000" contrast="-70000"/>
            </a:blip>
            <a:srcRect b="5841"/>
            <a:stretch/>
          </p:blipFill>
          <p:spPr>
            <a:xfrm>
              <a:off x="7896895" y="861362"/>
              <a:ext cx="669255" cy="726114"/>
            </a:xfrm>
            <a:prstGeom prst="rect">
              <a:avLst/>
            </a:prstGeom>
          </p:spPr>
        </p:pic>
      </p:grpSp>
      <p:grpSp>
        <p:nvGrpSpPr>
          <p:cNvPr id="27" name="그룹 26"/>
          <p:cNvGrpSpPr/>
          <p:nvPr/>
        </p:nvGrpSpPr>
        <p:grpSpPr>
          <a:xfrm>
            <a:off x="338457" y="4797152"/>
            <a:ext cx="11515087" cy="1800200"/>
            <a:chOff x="338457" y="4797152"/>
            <a:chExt cx="11515087" cy="1800200"/>
          </a:xfrm>
        </p:grpSpPr>
        <p:sp>
          <p:nvSpPr>
            <p:cNvPr id="19" name="사각형: 둥근 모서리 12">
              <a:extLst>
                <a:ext uri="{FF2B5EF4-FFF2-40B4-BE49-F238E27FC236}">
                  <a16:creationId xmlns:a16="http://schemas.microsoft.com/office/drawing/2014/main" id="{D267BC10-1209-1794-67C4-984BCD357DA5}"/>
                </a:ext>
              </a:extLst>
            </p:cNvPr>
            <p:cNvSpPr/>
            <p:nvPr/>
          </p:nvSpPr>
          <p:spPr>
            <a:xfrm>
              <a:off x="338457" y="4797152"/>
              <a:ext cx="11515087" cy="1800200"/>
            </a:xfrm>
            <a:prstGeom prst="roundRect">
              <a:avLst>
                <a:gd name="adj" fmla="val 4705"/>
              </a:avLst>
            </a:prstGeom>
            <a:solidFill>
              <a:schemeClr val="bg1">
                <a:lumMod val="95000"/>
              </a:schemeClr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4" name="그룹 23"/>
            <p:cNvGrpSpPr/>
            <p:nvPr/>
          </p:nvGrpSpPr>
          <p:grpSpPr>
            <a:xfrm>
              <a:off x="526728" y="4958340"/>
              <a:ext cx="11138544" cy="1477825"/>
              <a:chOff x="526728" y="4958340"/>
              <a:chExt cx="11138544" cy="1477825"/>
            </a:xfrm>
          </p:grpSpPr>
          <p:grpSp>
            <p:nvGrpSpPr>
              <p:cNvPr id="13" name="그룹 12"/>
              <p:cNvGrpSpPr/>
              <p:nvPr/>
            </p:nvGrpSpPr>
            <p:grpSpPr>
              <a:xfrm>
                <a:off x="526728" y="4958340"/>
                <a:ext cx="5119108" cy="1477825"/>
                <a:chOff x="480995" y="4938684"/>
                <a:chExt cx="5119108" cy="1477825"/>
              </a:xfrm>
            </p:grpSpPr>
            <p:sp>
              <p:nvSpPr>
                <p:cNvPr id="34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480995" y="4938684"/>
                  <a:ext cx="5119108" cy="1477825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grpSp>
              <p:nvGrpSpPr>
                <p:cNvPr id="10" name="그룹 9"/>
                <p:cNvGrpSpPr/>
                <p:nvPr/>
              </p:nvGrpSpPr>
              <p:grpSpPr>
                <a:xfrm>
                  <a:off x="785119" y="5242424"/>
                  <a:ext cx="4510860" cy="870344"/>
                  <a:chOff x="903731" y="3810777"/>
                  <a:chExt cx="4510860" cy="870344"/>
                </a:xfrm>
              </p:grpSpPr>
              <p:pic>
                <p:nvPicPr>
                  <p:cNvPr id="29" name="Picture 52" descr="Matplotlib logo — Matplotlib 3.9.0 documentation"/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16387" y="3996127"/>
                    <a:ext cx="2498204" cy="49964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0" name="Picture 18" descr="Python (programming language) - Wikipedia">
                    <a:extLst>
                      <a:ext uri="{FF2B5EF4-FFF2-40B4-BE49-F238E27FC236}">
                        <a16:creationId xmlns:a16="http://schemas.microsoft.com/office/drawing/2014/main" id="{726286A6-1613-F20E-6294-DD8EA75D793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03731" y="3810777"/>
                    <a:ext cx="793990" cy="87034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31" name="그림 30"/>
                  <p:cNvPicPr>
                    <a:picLocks noChangeAspect="1"/>
                  </p:cNvPicPr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2036746" y="3816888"/>
                    <a:ext cx="540616" cy="858122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7" name="그룹 16"/>
              <p:cNvGrpSpPr/>
              <p:nvPr/>
            </p:nvGrpSpPr>
            <p:grpSpPr>
              <a:xfrm>
                <a:off x="6546164" y="4958340"/>
                <a:ext cx="5119108" cy="1477825"/>
                <a:chOff x="6631378" y="4975511"/>
                <a:chExt cx="5119108" cy="1477825"/>
              </a:xfrm>
            </p:grpSpPr>
            <p:sp>
              <p:nvSpPr>
                <p:cNvPr id="35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6631378" y="4975511"/>
                  <a:ext cx="5119108" cy="1477825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pic>
              <p:nvPicPr>
                <p:cNvPr id="4102" name="Picture 6" descr="File:Streamlit-logo-primary-colormark-darktext.png - Wikimedia Commons"/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0116" t="18374" r="10116" b="18374"/>
                <a:stretch/>
              </p:blipFill>
              <p:spPr bwMode="auto">
                <a:xfrm>
                  <a:off x="8162453" y="5237288"/>
                  <a:ext cx="2056958" cy="95427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22" name="직사각형 21"/>
          <p:cNvSpPr/>
          <p:nvPr/>
        </p:nvSpPr>
        <p:spPr>
          <a:xfrm>
            <a:off x="314195" y="3005463"/>
            <a:ext cx="1156361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b="1" dirty="0" smtClean="0">
                <a:solidFill>
                  <a:schemeClr val="bg1"/>
                </a:solidFill>
              </a:rPr>
              <a:t>① </a:t>
            </a:r>
            <a:r>
              <a:rPr lang="ko-KR" altLang="en-US" b="1" dirty="0" err="1" smtClean="0">
                <a:solidFill>
                  <a:schemeClr val="bg1"/>
                </a:solidFill>
              </a:rPr>
              <a:t>인구순이동</a:t>
            </a:r>
            <a:r>
              <a:rPr lang="ko-KR" altLang="en-US" b="1" dirty="0" smtClean="0">
                <a:solidFill>
                  <a:schemeClr val="bg1"/>
                </a:solidFill>
              </a:rPr>
              <a:t> </a:t>
            </a:r>
            <a:r>
              <a:rPr lang="ko-KR" altLang="en-US" b="1" dirty="0">
                <a:solidFill>
                  <a:schemeClr val="bg1"/>
                </a:solidFill>
              </a:rPr>
              <a:t>: 2013 ~ 2023년 합산 기준 전국이동인구 </a:t>
            </a:r>
            <a:r>
              <a:rPr lang="ko-KR" altLang="en-US" b="1" dirty="0" err="1">
                <a:solidFill>
                  <a:schemeClr val="bg1"/>
                </a:solidFill>
              </a:rPr>
              <a:t>순이동</a:t>
            </a:r>
            <a:r>
              <a:rPr lang="ko-KR" altLang="en-US" b="1" dirty="0">
                <a:solidFill>
                  <a:schemeClr val="bg1"/>
                </a:solidFill>
              </a:rPr>
              <a:t> BAR CHART 및 지도 구현</a:t>
            </a:r>
          </a:p>
          <a:p>
            <a:endParaRPr lang="ko-KR" altLang="en-US" b="1" dirty="0">
              <a:solidFill>
                <a:schemeClr val="bg1"/>
              </a:solidFill>
            </a:endParaRPr>
          </a:p>
          <a:p>
            <a:r>
              <a:rPr lang="ko-KR" altLang="en-US" b="1" dirty="0" smtClean="0">
                <a:solidFill>
                  <a:schemeClr val="bg1"/>
                </a:solidFill>
              </a:rPr>
              <a:t>② </a:t>
            </a:r>
            <a:r>
              <a:rPr lang="ko-KR" altLang="en-US" b="1" dirty="0" err="1" smtClean="0">
                <a:solidFill>
                  <a:schemeClr val="bg1"/>
                </a:solidFill>
              </a:rPr>
              <a:t>실거래지수</a:t>
            </a:r>
            <a:r>
              <a:rPr lang="ko-KR" altLang="en-US" b="1" dirty="0" smtClean="0">
                <a:solidFill>
                  <a:schemeClr val="bg1"/>
                </a:solidFill>
              </a:rPr>
              <a:t> </a:t>
            </a:r>
            <a:r>
              <a:rPr lang="ko-KR" altLang="en-US" b="1" dirty="0">
                <a:solidFill>
                  <a:schemeClr val="bg1"/>
                </a:solidFill>
              </a:rPr>
              <a:t>및 실업률 : 2023년 대전/세종/충북/충남 </a:t>
            </a:r>
            <a:r>
              <a:rPr lang="ko-KR" altLang="en-US" b="1" dirty="0" err="1">
                <a:solidFill>
                  <a:schemeClr val="bg1"/>
                </a:solidFill>
              </a:rPr>
              <a:t>실거래</a:t>
            </a:r>
            <a:r>
              <a:rPr lang="ko-KR" altLang="en-US" b="1" dirty="0">
                <a:solidFill>
                  <a:schemeClr val="bg1"/>
                </a:solidFill>
              </a:rPr>
              <a:t> 가격지수 및 실업률 BAR CHART(이미지) 삽입 </a:t>
            </a:r>
          </a:p>
          <a:p>
            <a:endParaRPr lang="ko-KR" altLang="en-US" b="1" dirty="0">
              <a:solidFill>
                <a:schemeClr val="bg1"/>
              </a:solidFill>
            </a:endParaRPr>
          </a:p>
          <a:p>
            <a:r>
              <a:rPr lang="ko-KR" altLang="en-US" b="1" dirty="0" smtClean="0">
                <a:solidFill>
                  <a:schemeClr val="bg1"/>
                </a:solidFill>
              </a:rPr>
              <a:t>③ </a:t>
            </a:r>
            <a:r>
              <a:rPr lang="ko-KR" altLang="en-US" b="1" dirty="0" err="1" smtClean="0">
                <a:solidFill>
                  <a:schemeClr val="bg1"/>
                </a:solidFill>
              </a:rPr>
              <a:t>범죄율</a:t>
            </a:r>
            <a:r>
              <a:rPr lang="ko-KR" altLang="en-US" b="1" dirty="0" smtClean="0">
                <a:solidFill>
                  <a:schemeClr val="bg1"/>
                </a:solidFill>
              </a:rPr>
              <a:t> </a:t>
            </a:r>
            <a:r>
              <a:rPr lang="ko-KR" altLang="en-US" b="1" dirty="0">
                <a:solidFill>
                  <a:schemeClr val="bg1"/>
                </a:solidFill>
              </a:rPr>
              <a:t>및 생산가능인구 : 2023년 대전/세종/충북/충남 </a:t>
            </a:r>
            <a:r>
              <a:rPr lang="ko-KR" altLang="en-US" b="1" dirty="0" err="1">
                <a:solidFill>
                  <a:schemeClr val="bg1"/>
                </a:solidFill>
              </a:rPr>
              <a:t>범죄율</a:t>
            </a:r>
            <a:r>
              <a:rPr lang="ko-KR" altLang="en-US" b="1" dirty="0">
                <a:solidFill>
                  <a:schemeClr val="bg1"/>
                </a:solidFill>
              </a:rPr>
              <a:t> 및 생산가능인구 BAR CHART(이미지) 삽입</a:t>
            </a:r>
          </a:p>
        </p:txBody>
      </p:sp>
      <p:grpSp>
        <p:nvGrpSpPr>
          <p:cNvPr id="26" name="그룹 2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6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6372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2722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4. </a:t>
            </a:r>
            <a:r>
              <a:rPr lang="ko-KR" altLang="en-US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시각화 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&amp; </a:t>
            </a:r>
            <a:r>
              <a:rPr lang="ko-KR" altLang="en-US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서비스 구축</a:t>
            </a:r>
            <a:r>
              <a:rPr lang="en-US" altLang="ko-KR" sz="16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</a:t>
            </a:r>
            <a:endParaRPr lang="ko-KR" altLang="en-US" sz="16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207339" y="795963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9" name="그룹 8"/>
          <p:cNvGrpSpPr/>
          <p:nvPr/>
        </p:nvGrpSpPr>
        <p:grpSpPr>
          <a:xfrm>
            <a:off x="3559425" y="841392"/>
            <a:ext cx="5073151" cy="766054"/>
            <a:chOff x="3492999" y="841392"/>
            <a:chExt cx="5073151" cy="766054"/>
          </a:xfrm>
        </p:grpSpPr>
        <p:sp>
          <p:nvSpPr>
            <p:cNvPr id="15" name="직사각형 14"/>
            <p:cNvSpPr/>
            <p:nvPr/>
          </p:nvSpPr>
          <p:spPr>
            <a:xfrm>
              <a:off x="4286555" y="993587"/>
              <a:ext cx="3594254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시각화 </a:t>
              </a:r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amp; </a:t>
              </a:r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비스 구축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3" name="그림 2"/>
            <p:cNvPicPr>
              <a:picLocks noChangeAspect="1"/>
            </p:cNvPicPr>
            <p:nvPr/>
          </p:nvPicPr>
          <p:blipFill rotWithShape="1">
            <a:blip r:embed="rId4">
              <a:lum bright="70000" contrast="-70000"/>
            </a:blip>
            <a:srcRect l="60656" t="21763" r="10735" b="21763"/>
            <a:stretch/>
          </p:blipFill>
          <p:spPr>
            <a:xfrm>
              <a:off x="3492999" y="841392"/>
              <a:ext cx="777470" cy="766054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 rotWithShape="1">
            <a:blip r:embed="rId5">
              <a:lum bright="70000" contrast="-70000"/>
            </a:blip>
            <a:srcRect b="5841"/>
            <a:stretch/>
          </p:blipFill>
          <p:spPr>
            <a:xfrm>
              <a:off x="7896895" y="861362"/>
              <a:ext cx="669255" cy="726114"/>
            </a:xfrm>
            <a:prstGeom prst="rect">
              <a:avLst/>
            </a:prstGeom>
          </p:spPr>
        </p:pic>
      </p:grpSp>
      <p:sp>
        <p:nvSpPr>
          <p:cNvPr id="22" name="직사각형 21"/>
          <p:cNvSpPr/>
          <p:nvPr/>
        </p:nvSpPr>
        <p:spPr>
          <a:xfrm>
            <a:off x="368303" y="2753848"/>
            <a:ext cx="757893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종합</a:t>
            </a:r>
            <a:endParaRPr lang="en-US" altLang="ko-KR" b="1" dirty="0" smtClean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1)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도 구현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전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세종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남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북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4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지역 색깔로 표기</a:t>
            </a: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2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아파트 실거래가격지수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INE CHART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구현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전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세종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남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복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4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지역</a:t>
            </a: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3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월평균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소득구간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비율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AR CHART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로 구현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전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세종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남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충북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4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지역</a:t>
            </a:r>
          </a:p>
          <a:p>
            <a:endParaRPr lang="ko-KR" altLang="en-US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ko-KR" altLang="en-US" b="1" dirty="0" err="1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실거래지수</a:t>
            </a:r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모델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모버전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1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좌측 메뉴에서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, "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작연월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, "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종료연월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</a:t>
            </a:r>
          </a:p>
          <a:p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)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형회귀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머신러닝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알고리즘을 통해서 미래 아파트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실거래지수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예측 </a:t>
            </a:r>
          </a:p>
          <a:p>
            <a:endParaRPr lang="ko-KR" altLang="en-US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</a:t>
            </a:r>
            <a:r>
              <a:rPr lang="ko-KR" altLang="en-US" b="1" dirty="0" err="1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부동산매물</a:t>
            </a:r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추천모델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모버전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  <a:p>
            <a:r>
              <a:rPr lang="en-US" altLang="ko-KR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)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좌측 메뉴에서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, "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호인프라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"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</a:t>
            </a:r>
          </a:p>
          <a:p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)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형회귀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머신러닝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알고리즘을 통해서 개인 맞춤형 서울 아파트 매물 추천</a:t>
            </a:r>
          </a:p>
        </p:txBody>
      </p:sp>
      <p:grpSp>
        <p:nvGrpSpPr>
          <p:cNvPr id="26" name="그룹 2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6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2" name="직사각형 1"/>
          <p:cNvSpPr/>
          <p:nvPr/>
        </p:nvSpPr>
        <p:spPr>
          <a:xfrm>
            <a:off x="3678287" y="2182648"/>
            <a:ext cx="48354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Network URL: </a:t>
            </a:r>
            <a:r>
              <a:rPr lang="ko-KR" altLang="en-US" b="1" u="sng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http://192.168.71.220:8501</a:t>
            </a:r>
          </a:p>
        </p:txBody>
      </p:sp>
    </p:spTree>
    <p:extLst>
      <p:ext uri="{BB962C8B-B14F-4D97-AF65-F5344CB8AC3E}">
        <p14:creationId xmlns:p14="http://schemas.microsoft.com/office/powerpoint/2010/main" val="19607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1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207339" y="795963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26" name="그룹 2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6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315317" y="883901"/>
            <a:ext cx="3561367" cy="696138"/>
            <a:chOff x="4439816" y="883901"/>
            <a:chExt cx="3561367" cy="696138"/>
          </a:xfrm>
        </p:grpSpPr>
        <p:sp>
          <p:nvSpPr>
            <p:cNvPr id="15" name="직사각형 14"/>
            <p:cNvSpPr/>
            <p:nvPr/>
          </p:nvSpPr>
          <p:spPr>
            <a:xfrm>
              <a:off x="5132510" y="993587"/>
              <a:ext cx="206819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</a:t>
              </a:r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9816" y="883901"/>
              <a:ext cx="574948" cy="696138"/>
            </a:xfrm>
            <a:prstGeom prst="rect">
              <a:avLst/>
            </a:prstGeom>
          </p:spPr>
        </p:pic>
        <p:pic>
          <p:nvPicPr>
            <p:cNvPr id="18438" name="Picture 6" descr="Data Model Icons - Free SVG &amp; PNG Data Model Images - Noun Project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1" t="3362" r="4261" b="3362"/>
            <a:stretch/>
          </p:blipFill>
          <p:spPr bwMode="auto">
            <a:xfrm>
              <a:off x="7318451" y="883901"/>
              <a:ext cx="682732" cy="696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직사각형 6"/>
          <p:cNvSpPr/>
          <p:nvPr/>
        </p:nvSpPr>
        <p:spPr>
          <a:xfrm>
            <a:off x="4676381" y="2182648"/>
            <a:ext cx="2839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를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B에</a:t>
            </a:r>
            <a:r>
              <a:rPr lang="ko-KR" altLang="en-US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적재완료</a:t>
            </a:r>
            <a:endParaRPr lang="ko-KR" altLang="en-US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34" y="2624212"/>
            <a:ext cx="11080733" cy="3930623"/>
          </a:xfrm>
          <a:prstGeom prst="roundRect">
            <a:avLst>
              <a:gd name="adj" fmla="val 3192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  <a:prstDash val="dash"/>
          </a:ln>
          <a:effectLst/>
        </p:spPr>
      </p:pic>
    </p:spTree>
    <p:extLst>
      <p:ext uri="{BB962C8B-B14F-4D97-AF65-F5344CB8AC3E}">
        <p14:creationId xmlns:p14="http://schemas.microsoft.com/office/powerpoint/2010/main" val="3822275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207339" y="795963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26" name="그룹 2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6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315317" y="883901"/>
            <a:ext cx="3561367" cy="696138"/>
            <a:chOff x="4439816" y="883901"/>
            <a:chExt cx="3561367" cy="696138"/>
          </a:xfrm>
        </p:grpSpPr>
        <p:sp>
          <p:nvSpPr>
            <p:cNvPr id="15" name="직사각형 14"/>
            <p:cNvSpPr/>
            <p:nvPr/>
          </p:nvSpPr>
          <p:spPr>
            <a:xfrm>
              <a:off x="5132510" y="993587"/>
              <a:ext cx="206819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</a:t>
              </a:r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39816" y="883901"/>
              <a:ext cx="574948" cy="696138"/>
            </a:xfrm>
            <a:prstGeom prst="rect">
              <a:avLst/>
            </a:prstGeom>
          </p:spPr>
        </p:pic>
        <p:pic>
          <p:nvPicPr>
            <p:cNvPr id="18438" name="Picture 6" descr="Data Model Icons - Free SVG &amp; PNG Data Model Images - Noun Project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1" t="3362" r="4261" b="3362"/>
            <a:stretch/>
          </p:blipFill>
          <p:spPr bwMode="auto">
            <a:xfrm>
              <a:off x="7318451" y="883901"/>
              <a:ext cx="682732" cy="696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직사각형 6"/>
          <p:cNvSpPr/>
          <p:nvPr/>
        </p:nvSpPr>
        <p:spPr>
          <a:xfrm>
            <a:off x="2567609" y="2182648"/>
            <a:ext cx="70567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부동산 매물의 가격 예측을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위한 데이터 </a:t>
            </a:r>
            <a:r>
              <a:rPr lang="en-US" altLang="ko-KR" sz="2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B</a:t>
            </a:r>
            <a:r>
              <a:rPr lang="ko-KR" altLang="en-US" sz="2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를 통해 추출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376" y="3099295"/>
            <a:ext cx="5047067" cy="3354041"/>
          </a:xfrm>
          <a:prstGeom prst="roundRect">
            <a:avLst>
              <a:gd name="adj" fmla="val 2622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  <a:prstDash val="dash"/>
          </a:ln>
          <a:effectLst/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6040" y="3099295"/>
            <a:ext cx="5396640" cy="33540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/>
            </a:solidFill>
            <a:prstDash val="dash"/>
          </a:ln>
          <a:effectLst/>
        </p:spPr>
      </p:pic>
      <p:sp>
        <p:nvSpPr>
          <p:cNvPr id="22" name="오른쪽 화살표 89">
            <a:extLst>
              <a:ext uri="{FF2B5EF4-FFF2-40B4-BE49-F238E27FC236}">
                <a16:creationId xmlns:a16="http://schemas.microsoft.com/office/drawing/2014/main" id="{B8B02F69-DD09-CFD5-C365-99D3B0E45D9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685476" y="4442705"/>
            <a:ext cx="611532" cy="667221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  <a:alpha val="8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883051" y="2699628"/>
            <a:ext cx="22397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예제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QL 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쿼리 작성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8407200" y="2699628"/>
            <a:ext cx="1494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데이터 추출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598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3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207339" y="795963"/>
            <a:ext cx="11777322" cy="87201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1" name="그림 1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grpSp>
        <p:nvGrpSpPr>
          <p:cNvPr id="26" name="그룹 25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6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6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6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6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4315317" y="883901"/>
            <a:ext cx="3561367" cy="696138"/>
            <a:chOff x="4439816" y="883901"/>
            <a:chExt cx="3561367" cy="696138"/>
          </a:xfrm>
        </p:grpSpPr>
        <p:sp>
          <p:nvSpPr>
            <p:cNvPr id="15" name="직사각형 14"/>
            <p:cNvSpPr/>
            <p:nvPr/>
          </p:nvSpPr>
          <p:spPr>
            <a:xfrm>
              <a:off x="5132510" y="993587"/>
              <a:ext cx="206819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</a:t>
              </a:r>
              <a:r>
                <a:rPr lang="ko-KR" altLang="en-US" sz="2400" b="1" dirty="0" smtClean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9816" y="883901"/>
              <a:ext cx="574948" cy="696138"/>
            </a:xfrm>
            <a:prstGeom prst="rect">
              <a:avLst/>
            </a:prstGeom>
          </p:spPr>
        </p:pic>
        <p:pic>
          <p:nvPicPr>
            <p:cNvPr id="18438" name="Picture 6" descr="Data Model Icons - Free SVG &amp; PNG Data Model Images - Noun Project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1" t="3362" r="4261" b="3362"/>
            <a:stretch/>
          </p:blipFill>
          <p:spPr bwMode="auto">
            <a:xfrm>
              <a:off x="7318451" y="883901"/>
              <a:ext cx="682732" cy="696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직사각형 1"/>
          <p:cNvSpPr/>
          <p:nvPr/>
        </p:nvSpPr>
        <p:spPr>
          <a:xfrm>
            <a:off x="2369684" y="3212976"/>
            <a:ext cx="19415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③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CSV</a:t>
            </a:r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로  </a:t>
            </a:r>
            <a:r>
              <a:rPr lang="en-US" altLang="ko-KR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Export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47256" y="3880156"/>
            <a:ext cx="5586412" cy="1576387"/>
            <a:chOff x="473317" y="3285143"/>
            <a:chExt cx="5586412" cy="1576387"/>
          </a:xfrm>
        </p:grpSpPr>
        <p:pic>
          <p:nvPicPr>
            <p:cNvPr id="23" name="그림 2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33085" y="3285143"/>
              <a:ext cx="1666877" cy="628283"/>
            </a:xfrm>
            <a:prstGeom prst="rect">
              <a:avLst/>
            </a:prstGeom>
          </p:spPr>
        </p:pic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3317" y="3918555"/>
              <a:ext cx="5586412" cy="942975"/>
            </a:xfrm>
            <a:prstGeom prst="rect">
              <a:avLst/>
            </a:prstGeom>
          </p:spPr>
        </p:pic>
      </p:grpSp>
      <p:sp>
        <p:nvSpPr>
          <p:cNvPr id="28" name="직사각형 27"/>
          <p:cNvSpPr/>
          <p:nvPr/>
        </p:nvSpPr>
        <p:spPr>
          <a:xfrm>
            <a:off x="7822815" y="3212976"/>
            <a:ext cx="25907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 smtClean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④ 모델 적용을 위한 데이터</a:t>
            </a:r>
            <a:endParaRPr lang="ko-KR" altLang="en-US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9765" y="3617382"/>
            <a:ext cx="5476875" cy="2735346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9"/>
          <a:srcRect l="10325" r="10325"/>
          <a:stretch/>
        </p:blipFill>
        <p:spPr>
          <a:xfrm>
            <a:off x="10468429" y="2378017"/>
            <a:ext cx="1540011" cy="1204291"/>
          </a:xfrm>
          <a:prstGeom prst="rect">
            <a:avLst/>
          </a:prstGeom>
        </p:spPr>
      </p:pic>
      <p:grpSp>
        <p:nvGrpSpPr>
          <p:cNvPr id="13" name="그룹 12"/>
          <p:cNvGrpSpPr/>
          <p:nvPr/>
        </p:nvGrpSpPr>
        <p:grpSpPr>
          <a:xfrm>
            <a:off x="2567609" y="2182648"/>
            <a:ext cx="7056783" cy="830997"/>
            <a:chOff x="2567609" y="2182648"/>
            <a:chExt cx="7056783" cy="830997"/>
          </a:xfrm>
        </p:grpSpPr>
        <p:sp>
          <p:nvSpPr>
            <p:cNvPr id="7" name="직사각형 6"/>
            <p:cNvSpPr/>
            <p:nvPr/>
          </p:nvSpPr>
          <p:spPr>
            <a:xfrm>
              <a:off x="2567609" y="2182648"/>
              <a:ext cx="705678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</a:t>
              </a:r>
              <a:r>
                <a:rPr lang="ko-KR" altLang="en-US" sz="2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머신러닝</a:t>
              </a:r>
              <a:r>
                <a:rPr lang="ko-KR" altLang="en-US" sz="2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학습을 위한 데이터 </a:t>
              </a:r>
              <a:r>
                <a:rPr lang="en-US" altLang="ko-KR" sz="24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Export </a:t>
              </a:r>
              <a:r>
                <a:rPr lang="ko-KR" altLang="en-US" sz="24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및 모델 학습</a:t>
              </a:r>
              <a:endParaRPr lang="en-US" altLang="ko-KR" sz="24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추후 </a:t>
              </a:r>
              <a:r>
                <a:rPr lang="en-US" altLang="ko-KR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</a:t>
              </a:r>
              <a:r>
                <a:rPr lang="ko-KR" alt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에서 데이터를 추출하는 모듈을 작성할 예정</a:t>
              </a:r>
            </a:p>
          </p:txBody>
        </p:sp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694372" y="2629575"/>
              <a:ext cx="281048" cy="2773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219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294023" y="1095363"/>
            <a:ext cx="3641737" cy="5548477"/>
          </a:xfrm>
          <a:prstGeom prst="roundRect">
            <a:avLst>
              <a:gd name="adj" fmla="val 5569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6736762" cy="477020"/>
          </a:xfrm>
        </p:spPr>
        <p:txBody>
          <a:bodyPr/>
          <a:lstStyle/>
          <a:p>
            <a:r>
              <a:rPr lang="en-US" altLang="ko-KR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DBMS</a:t>
            </a: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를 </a:t>
            </a:r>
            <a:r>
              <a:rPr lang="ko-KR" altLang="en-US" sz="1800" b="1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러신머닝</a:t>
            </a: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ko-KR" altLang="en-US" sz="1800" b="1" dirty="0" err="1" smtClean="0">
                <a:latin typeface="Pretendard" panose="02000503000000020004" pitchFamily="50" charset="-127"/>
                <a:ea typeface="Pretendard" panose="02000503000000020004" pitchFamily="50" charset="-127"/>
              </a:rPr>
              <a:t>모델구축에</a:t>
            </a: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 사용해야 하는 이유</a:t>
            </a:r>
            <a:r>
              <a:rPr lang="en-US" altLang="ko-KR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1)</a:t>
            </a:r>
            <a:endParaRPr lang="ko-KR" altLang="en-US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652667" y="1442886"/>
            <a:ext cx="2882061" cy="5154466"/>
            <a:chOff x="652667" y="1442886"/>
            <a:chExt cx="2882061" cy="5154466"/>
          </a:xfrm>
        </p:grpSpPr>
        <p:pic>
          <p:nvPicPr>
            <p:cNvPr id="14" name="그림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2667" y="1442886"/>
              <a:ext cx="2882061" cy="4513938"/>
            </a:xfrm>
            <a:prstGeom prst="roundRect">
              <a:avLst>
                <a:gd name="adj" fmla="val 4986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9" name="TextBox 28"/>
            <p:cNvSpPr txBox="1"/>
            <p:nvPr/>
          </p:nvSpPr>
          <p:spPr>
            <a:xfrm>
              <a:off x="1392338" y="6026136"/>
              <a:ext cx="1402719" cy="57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8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MS</a:t>
              </a:r>
            </a:p>
          </p:txBody>
        </p:sp>
      </p:grpSp>
      <p:sp>
        <p:nvSpPr>
          <p:cNvPr id="32" name="모서리가 둥근 직사각형 31"/>
          <p:cNvSpPr/>
          <p:nvPr/>
        </p:nvSpPr>
        <p:spPr>
          <a:xfrm>
            <a:off x="4780773" y="1069467"/>
            <a:ext cx="6859843" cy="5548477"/>
          </a:xfrm>
          <a:prstGeom prst="roundRect">
            <a:avLst>
              <a:gd name="adj" fmla="val 5569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5972189" y="1442886"/>
            <a:ext cx="4477011" cy="2075130"/>
            <a:chOff x="13476649" y="-2448867"/>
            <a:chExt cx="4477011" cy="2075130"/>
          </a:xfrm>
        </p:grpSpPr>
        <p:pic>
          <p:nvPicPr>
            <p:cNvPr id="18" name="그림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76649" y="-2035330"/>
              <a:ext cx="4477011" cy="166159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1" name="TextBox 20"/>
            <p:cNvSpPr txBox="1"/>
            <p:nvPr/>
          </p:nvSpPr>
          <p:spPr>
            <a:xfrm>
              <a:off x="13643298" y="-2448867"/>
              <a:ext cx="41437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울시 고가 아파트</a:t>
              </a:r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-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인프라 데이터 </a:t>
              </a:r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– fancy</a:t>
              </a:r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5755063" y="3978558"/>
            <a:ext cx="4911263" cy="1978266"/>
            <a:chOff x="14604955" y="1062794"/>
            <a:chExt cx="4911263" cy="1978266"/>
          </a:xfrm>
        </p:grpSpPr>
        <p:pic>
          <p:nvPicPr>
            <p:cNvPr id="17" name="그림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604955" y="1484784"/>
              <a:ext cx="4911263" cy="155627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2" name="TextBox 21"/>
            <p:cNvSpPr txBox="1"/>
            <p:nvPr/>
          </p:nvSpPr>
          <p:spPr>
            <a:xfrm>
              <a:off x="14937065" y="1062794"/>
              <a:ext cx="42470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서울시 저가 아파트</a:t>
              </a:r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- </a:t>
              </a:r>
              <a:r>
                <a:rPr lang="ko-KR" altLang="en-US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인프라 데이터 </a:t>
              </a:r>
              <a:r>
                <a:rPr lang="en-US" altLang="ko-KR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– cheap</a:t>
              </a:r>
            </a:p>
          </p:txBody>
        </p:sp>
      </p:grpSp>
      <p:pic>
        <p:nvPicPr>
          <p:cNvPr id="39" name="그림 3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510202" y="3408075"/>
            <a:ext cx="3790192" cy="871260"/>
          </a:xfrm>
          <a:prstGeom prst="rect">
            <a:avLst/>
          </a:prstGeom>
        </p:spPr>
      </p:pic>
      <p:sp>
        <p:nvSpPr>
          <p:cNvPr id="24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4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995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294023" y="1095363"/>
            <a:ext cx="3641737" cy="5548477"/>
          </a:xfrm>
          <a:prstGeom prst="roundRect">
            <a:avLst>
              <a:gd name="adj" fmla="val 5569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6808770" cy="477020"/>
          </a:xfrm>
        </p:spPr>
        <p:txBody>
          <a:bodyPr/>
          <a:lstStyle/>
          <a:p>
            <a:r>
              <a:rPr lang="en-US" altLang="ko-KR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DBMS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를 </a:t>
            </a:r>
            <a:r>
              <a:rPr lang="ko-KR" altLang="en-US" sz="1800" b="1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러신머닝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ko-KR" altLang="en-US" sz="1800" b="1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모델구축에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 사용해야 하는 </a:t>
            </a:r>
            <a:r>
              <a:rPr lang="ko-KR" altLang="en-US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이유</a:t>
            </a:r>
            <a:r>
              <a:rPr lang="en-US" altLang="ko-KR" sz="1800" b="1" dirty="0" smtClean="0">
                <a:latin typeface="Pretendard" panose="02000503000000020004" pitchFamily="50" charset="-127"/>
                <a:ea typeface="Pretendard" panose="02000503000000020004" pitchFamily="50" charset="-127"/>
              </a:rPr>
              <a:t>(2)</a:t>
            </a:r>
            <a:endParaRPr lang="ko-KR" altLang="en-US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부록</a:t>
              </a: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4780773" y="1069467"/>
            <a:ext cx="6859843" cy="5548477"/>
            <a:chOff x="4780773" y="1069467"/>
            <a:chExt cx="6859843" cy="5548477"/>
          </a:xfrm>
        </p:grpSpPr>
        <p:sp>
          <p:nvSpPr>
            <p:cNvPr id="32" name="모서리가 둥근 직사각형 31"/>
            <p:cNvSpPr/>
            <p:nvPr/>
          </p:nvSpPr>
          <p:spPr>
            <a:xfrm>
              <a:off x="4780773" y="1069467"/>
              <a:ext cx="6859843" cy="5548477"/>
            </a:xfrm>
            <a:prstGeom prst="roundRect">
              <a:avLst>
                <a:gd name="adj" fmla="val 55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33" name="그룹 32"/>
            <p:cNvGrpSpPr/>
            <p:nvPr/>
          </p:nvGrpSpPr>
          <p:grpSpPr>
            <a:xfrm>
              <a:off x="5833486" y="4387884"/>
              <a:ext cx="4754416" cy="1568940"/>
              <a:chOff x="15890108" y="5552395"/>
              <a:chExt cx="4754416" cy="1568940"/>
            </a:xfrm>
          </p:grpSpPr>
          <p:pic>
            <p:nvPicPr>
              <p:cNvPr id="15" name="그림 1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890108" y="5921727"/>
                <a:ext cx="4754416" cy="119960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16993878" y="5552395"/>
                <a:ext cx="254687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인구이동 데이터 </a:t>
                </a:r>
                <a:r>
                  <a:rPr lang="en-US" altLang="ko-KR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– busan</a:t>
                </a:r>
              </a:p>
            </p:txBody>
          </p:sp>
        </p:grpSp>
        <p:grpSp>
          <p:nvGrpSpPr>
            <p:cNvPr id="31" name="그룹 30"/>
            <p:cNvGrpSpPr/>
            <p:nvPr/>
          </p:nvGrpSpPr>
          <p:grpSpPr>
            <a:xfrm>
              <a:off x="5833486" y="1442886"/>
              <a:ext cx="4754416" cy="1550731"/>
              <a:chOff x="14516280" y="3468942"/>
              <a:chExt cx="4754416" cy="1550731"/>
            </a:xfrm>
          </p:grpSpPr>
          <p:pic>
            <p:nvPicPr>
              <p:cNvPr id="16" name="그림 15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516280" y="3943114"/>
                <a:ext cx="4754416" cy="107655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14577111" y="3468942"/>
                <a:ext cx="463275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실거래지수에 기여도가 높은 변수 </a:t>
                </a:r>
                <a:r>
                  <a:rPr lang="en-US" altLang="ko-KR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– parameter</a:t>
                </a:r>
              </a:p>
            </p:txBody>
          </p:sp>
        </p:grp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667" y="1442886"/>
            <a:ext cx="2882061" cy="4513938"/>
          </a:xfrm>
          <a:prstGeom prst="roundRect">
            <a:avLst>
              <a:gd name="adj" fmla="val 498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34" name="TextBox 33"/>
          <p:cNvSpPr txBox="1"/>
          <p:nvPr/>
        </p:nvSpPr>
        <p:spPr>
          <a:xfrm>
            <a:off x="1392338" y="6026136"/>
            <a:ext cx="1402719" cy="57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BMS</a:t>
            </a:r>
          </a:p>
        </p:txBody>
      </p:sp>
      <p:pic>
        <p:nvPicPr>
          <p:cNvPr id="36" name="그림 35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510202" y="3408075"/>
            <a:ext cx="3790192" cy="871260"/>
          </a:xfrm>
          <a:prstGeom prst="rect">
            <a:avLst/>
          </a:prstGeom>
        </p:spPr>
      </p:pic>
      <p:sp>
        <p:nvSpPr>
          <p:cNvPr id="23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5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1841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223334" y="1151780"/>
            <a:ext cx="11745332" cy="5291140"/>
            <a:chOff x="223334" y="1151780"/>
            <a:chExt cx="11745332" cy="5291140"/>
          </a:xfrm>
        </p:grpSpPr>
        <p:sp>
          <p:nvSpPr>
            <p:cNvPr id="70" name="모서리가 둥근 직사각형 69"/>
            <p:cNvSpPr/>
            <p:nvPr/>
          </p:nvSpPr>
          <p:spPr>
            <a:xfrm>
              <a:off x="223334" y="1683604"/>
              <a:ext cx="11745332" cy="4759316"/>
            </a:xfrm>
            <a:prstGeom prst="roundRect">
              <a:avLst>
                <a:gd name="adj" fmla="val 5885"/>
              </a:avLst>
            </a:prstGeom>
            <a:solidFill>
              <a:schemeClr val="bg1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026" name="Picture 2" descr="서울 - 무료 문화개 아이콘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5455" y="1683604"/>
              <a:ext cx="2003211" cy="200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직사각형 1"/>
            <p:cNvSpPr/>
            <p:nvPr/>
          </p:nvSpPr>
          <p:spPr>
            <a:xfrm>
              <a:off x="368091" y="2365518"/>
              <a:ext cx="11455818" cy="3416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활용 예시</a:t>
              </a:r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) 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3~2014 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+인프라 수준 1등급(서초구) + 서초구(인구이동 데이터)</a:t>
              </a:r>
            </a:p>
            <a:p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 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가격변동폭이 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가장 드라마틱 했던 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9~2023</a:t>
              </a:r>
              <a:endPara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) 2019~2023 데이터 +인프라 수준 1등급(용산구) + 용산구(인구이동 데이터)</a:t>
              </a:r>
            </a:p>
            <a:p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) 2013~2023 데이터 + 인프라 수준 5등급(서울시) + 서울시(인구이동 데이터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0" name="텍스트 개체 틀 2"/>
            <p:cNvSpPr txBox="1">
              <a:spLocks/>
            </p:cNvSpPr>
            <p:nvPr/>
          </p:nvSpPr>
          <p:spPr>
            <a:xfrm>
              <a:off x="3313200" y="1151780"/>
              <a:ext cx="5565601" cy="4770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marL="0" lvl="0" indent="0" algn="just" defTabSz="914400" rtl="0" eaLnBrk="1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ts val="1800"/>
                <a:buFont typeface="Arial" panose="020B0604020202020204" pitchFamily="34" charset="0"/>
                <a:buNone/>
                <a:defRPr sz="1600" b="0" kern="1200">
                  <a:solidFill>
                    <a:srgbClr val="404040"/>
                  </a:solidFill>
                  <a:latin typeface="Pretendard" panose="02000503000000000000" pitchFamily="2" charset="-127"/>
                  <a:ea typeface="Pretendard" panose="02000503000000000000" pitchFamily="2" charset="-127"/>
                  <a:cs typeface="Pretendard" panose="02000503000000020004" pitchFamily="50" charset="-127"/>
                </a:defRPr>
              </a:lvl1pPr>
              <a:lvl2pPr marL="914423" lvl="1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71634" lvl="2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846" lvl="3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86057" lvl="4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69" lvl="5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00480" lvl="6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●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7691" lvl="7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○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14903" lvl="8" indent="-317508" algn="l" defTabSz="914400" rtl="0" eaLnBrk="1" latinLnBrk="1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SzPts val="1400"/>
                <a:buFont typeface="Arial" panose="020B0604020202020204" pitchFamily="34" charset="0"/>
                <a:buChar char="■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800" b="1" dirty="0" smtClean="0">
                  <a:latin typeface="Pretendard" panose="02000503000000020004" pitchFamily="50" charset="-127"/>
                  <a:ea typeface="Pretendard" panose="02000503000000020004" pitchFamily="50" charset="-127"/>
                </a:rPr>
                <a:t>데이터 추출 형식 </a:t>
              </a:r>
              <a:r>
                <a:rPr lang="en-US" altLang="ko-KR" sz="2800" b="1" dirty="0" smtClean="0">
                  <a:latin typeface="Pretendard" panose="02000503000000020004" pitchFamily="50" charset="-127"/>
                  <a:ea typeface="Pretendard" panose="02000503000000020004" pitchFamily="50" charset="-127"/>
                </a:rPr>
                <a:t>(SQL</a:t>
              </a:r>
              <a:r>
                <a:rPr lang="ko-KR" altLang="en-US" sz="2800" b="1" dirty="0" smtClean="0">
                  <a:latin typeface="Pretendard" panose="02000503000000020004" pitchFamily="50" charset="-127"/>
                  <a:ea typeface="Pretendard" panose="02000503000000020004" pitchFamily="50" charset="-127"/>
                </a:rPr>
                <a:t>을 활용할 계획</a:t>
              </a:r>
              <a:r>
                <a:rPr lang="en-US" altLang="ko-KR" sz="2800" b="1" dirty="0" smtClean="0">
                  <a:latin typeface="Pretendard" panose="02000503000000020004" pitchFamily="50" charset="-127"/>
                  <a:ea typeface="Pretendard" panose="02000503000000020004" pitchFamily="50" charset="-127"/>
                </a:rPr>
                <a:t>)</a:t>
              </a:r>
              <a:endParaRPr lang="ko-KR" altLang="en-US" sz="2800" b="1" dirty="0">
                <a:latin typeface="Pretendard" panose="02000503000000020004" pitchFamily="50" charset="-127"/>
                <a:ea typeface="Pretendard" panose="02000503000000020004" pitchFamily="50" charset="-127"/>
              </a:endParaRPr>
            </a:p>
          </p:txBody>
        </p:sp>
      </p:grpSp>
      <p:sp>
        <p:nvSpPr>
          <p:cNvPr id="16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5. DB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설계 및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6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4384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140817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V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결론</a:t>
            </a: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3" name="직사각형 2"/>
          <p:cNvSpPr/>
          <p:nvPr/>
        </p:nvSpPr>
        <p:spPr>
          <a:xfrm>
            <a:off x="914967" y="-1472229"/>
            <a:ext cx="8880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- 이동데이터와 경제, 사회 변수들로 어느 수준의 예측은 가능하나 좀 더 성능개선이 필요한 상황</a:t>
            </a:r>
          </a:p>
          <a:p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  -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파트마다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미흡한 부분들을 보완해가며 개발을 진행해 나갈 예정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3215679" y="967656"/>
            <a:ext cx="5760642" cy="5328592"/>
            <a:chOff x="215337" y="967656"/>
            <a:chExt cx="5760642" cy="5328592"/>
          </a:xfrm>
        </p:grpSpPr>
        <p:sp>
          <p:nvSpPr>
            <p:cNvPr id="2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215337" y="1512179"/>
              <a:ext cx="5760642" cy="4784069"/>
            </a:xfrm>
            <a:prstGeom prst="roundRect">
              <a:avLst>
                <a:gd name="adj" fmla="val 6284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1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37" name="직사각형 36"/>
            <p:cNvSpPr/>
            <p:nvPr/>
          </p:nvSpPr>
          <p:spPr>
            <a:xfrm>
              <a:off x="2714991" y="967656"/>
              <a:ext cx="76133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400" b="1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과</a:t>
              </a:r>
              <a:endParaRPr lang="ko-KR" altLang="en-US" sz="2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1223451" y="1512179"/>
              <a:ext cx="374441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세종시 </a:t>
              </a:r>
              <a:r>
                <a:rPr lang="ko-KR" altLang="en-US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실거래지수</a:t>
              </a:r>
              <a:r>
                <a:rPr lang="ko-KR" altLang="en-US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예측치</a:t>
              </a:r>
              <a:endPara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515432" y="2011387"/>
              <a:ext cx="5160453" cy="378565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)</a:t>
              </a: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0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정계수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: 0.968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)</a:t>
              </a: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0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Train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MSE:6.3516 / </a:t>
              </a:r>
              <a:r>
                <a:rPr lang="ko-KR" altLang="en-US" sz="20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Test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MSE:15.6219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3)</a:t>
              </a: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평균 </a:t>
              </a: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MSE:24.9379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	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- 13.01~23.11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까지의 데이터를 넣어 훈련시킨 후, </a:t>
              </a: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 </a:t>
              </a:r>
              <a:endParaRPr lang="en-US" altLang="ko-KR" sz="20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ko-KR" altLang="en-US" sz="20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  23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12월의 실거래지수를 예측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- 실제 </a:t>
              </a:r>
              <a:r>
                <a:rPr lang="ko-KR" altLang="en-US" sz="20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실거래지수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: 122.0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- 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모델 예측 </a:t>
              </a:r>
              <a:r>
                <a:rPr lang="ko-KR" altLang="en-US" sz="20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실거래지수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: </a:t>
              </a:r>
              <a:r>
                <a:rPr lang="ko-KR" altLang="en-US" sz="20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30.33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0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* </a:t>
              </a:r>
              <a:r>
                <a: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많은 성능 개선이 필요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597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64042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도시 양극화의 정의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77A63-09BF-7EFC-2B91-C3EC002F749D}"/>
              </a:ext>
            </a:extLst>
          </p:cNvPr>
          <p:cNvGrpSpPr/>
          <p:nvPr/>
        </p:nvGrpSpPr>
        <p:grpSpPr>
          <a:xfrm>
            <a:off x="903446" y="1009442"/>
            <a:ext cx="10385109" cy="5515902"/>
            <a:chOff x="903446" y="1009442"/>
            <a:chExt cx="10385109" cy="5515902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CEE5B292-1412-F74A-B7F6-88A12D838EC2}"/>
                </a:ext>
              </a:extLst>
            </p:cNvPr>
            <p:cNvGrpSpPr/>
            <p:nvPr/>
          </p:nvGrpSpPr>
          <p:grpSpPr>
            <a:xfrm>
              <a:off x="903446" y="1009442"/>
              <a:ext cx="10385109" cy="923330"/>
              <a:chOff x="2697979" y="1009442"/>
              <a:chExt cx="10385109" cy="923330"/>
            </a:xfrm>
          </p:grpSpPr>
          <p:sp>
            <p:nvSpPr>
              <p:cNvPr id="5" name="직사각형 4"/>
              <p:cNvSpPr/>
              <p:nvPr/>
            </p:nvSpPr>
            <p:spPr>
              <a:xfrm>
                <a:off x="2697979" y="1009442"/>
                <a:ext cx="6396496" cy="9233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5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도시 </a:t>
                </a:r>
                <a:r>
                  <a:rPr lang="ko-KR" altLang="en-US" sz="54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양극화란</a:t>
                </a:r>
                <a:r>
                  <a:rPr lang="en-US" altLang="ko-KR" sz="5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?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6A5432E-C9AB-128A-7B61-C77B81285B63}"/>
                  </a:ext>
                </a:extLst>
              </p:cNvPr>
              <p:cNvSpPr txBox="1"/>
              <p:nvPr/>
            </p:nvSpPr>
            <p:spPr>
              <a:xfrm>
                <a:off x="8093149" y="1055609"/>
                <a:ext cx="4989939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4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GPT</a:t>
                </a:r>
                <a:r>
                  <a:rPr lang="ko-KR" altLang="en-US" sz="4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에게 물어봤다</a:t>
                </a:r>
                <a:r>
                  <a:rPr lang="en-US" altLang="ko-KR" sz="48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!</a:t>
                </a:r>
                <a:endParaRPr lang="ko-KR" altLang="en-US" sz="48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18C1D4C8-0AC7-E8C9-CA23-2EE2A47D6A69}"/>
                </a:ext>
              </a:extLst>
            </p:cNvPr>
            <p:cNvGrpSpPr/>
            <p:nvPr/>
          </p:nvGrpSpPr>
          <p:grpSpPr>
            <a:xfrm>
              <a:off x="1188744" y="5035312"/>
              <a:ext cx="9814512" cy="1490032"/>
              <a:chOff x="1149685" y="5035312"/>
              <a:chExt cx="9814512" cy="1490032"/>
            </a:xfrm>
          </p:grpSpPr>
          <p:sp>
            <p:nvSpPr>
              <p:cNvPr id="3" name="사각형: 둥근 모서리 79">
                <a:extLst>
                  <a:ext uri="{FF2B5EF4-FFF2-40B4-BE49-F238E27FC236}">
                    <a16:creationId xmlns:a16="http://schemas.microsoft.com/office/drawing/2014/main" id="{DF4D2056-26EF-A27B-6197-EEDFFBB396C5}"/>
                  </a:ext>
                </a:extLst>
              </p:cNvPr>
              <p:cNvSpPr/>
              <p:nvPr/>
            </p:nvSpPr>
            <p:spPr>
              <a:xfrm>
                <a:off x="1149685" y="5035312"/>
                <a:ext cx="9814512" cy="1490032"/>
              </a:xfrm>
              <a:prstGeom prst="roundRect">
                <a:avLst>
                  <a:gd name="adj" fmla="val 12722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80E80-DC13-DB8D-FF8B-25073FEC76DF}"/>
                  </a:ext>
                </a:extLst>
              </p:cNvPr>
              <p:cNvSpPr txBox="1"/>
              <p:nvPr/>
            </p:nvSpPr>
            <p:spPr>
              <a:xfrm>
                <a:off x="1149685" y="5180164"/>
                <a:ext cx="9814512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3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3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도시 내 또는 도시 간에 발생하는</a:t>
                </a:r>
                <a:endParaRPr lang="en-US" altLang="ko-KR" sz="36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36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경제적</a:t>
                </a:r>
                <a:r>
                  <a:rPr lang="en-US" altLang="ko-KR" sz="36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6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적</a:t>
                </a:r>
                <a:r>
                  <a:rPr lang="en-US" altLang="ko-KR" sz="36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6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공간적 격차가 심화</a:t>
                </a:r>
                <a:r>
                  <a:rPr lang="ko-KR" altLang="en-US" sz="3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되는 현상을 의미</a:t>
                </a:r>
                <a:r>
                  <a:rPr lang="en-US" altLang="ko-KR" sz="36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”</a:t>
                </a:r>
              </a:p>
            </p:txBody>
          </p:sp>
        </p:grpSp>
        <p:sp>
          <p:nvSpPr>
            <p:cNvPr id="6" name="사다리꼴 5">
              <a:extLst>
                <a:ext uri="{FF2B5EF4-FFF2-40B4-BE49-F238E27FC236}">
                  <a16:creationId xmlns:a16="http://schemas.microsoft.com/office/drawing/2014/main" id="{D5632970-BEFE-DE4F-674B-B4BF80066026}"/>
                </a:ext>
              </a:extLst>
            </p:cNvPr>
            <p:cNvSpPr/>
            <p:nvPr/>
          </p:nvSpPr>
          <p:spPr>
            <a:xfrm>
              <a:off x="1307468" y="4438848"/>
              <a:ext cx="9577064" cy="596464"/>
            </a:xfrm>
            <a:prstGeom prst="trapezoid">
              <a:avLst>
                <a:gd name="adj" fmla="val 699340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F362D29-1B64-B7AF-7CE5-01FAA7E4F3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70" t="5851" r="22570" b="5851"/>
            <a:stretch/>
          </p:blipFill>
          <p:spPr bwMode="auto">
            <a:xfrm>
              <a:off x="4951352" y="2280935"/>
              <a:ext cx="2289296" cy="2296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CBB79214-4CA7-5EA3-A763-0B92C55AA0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8744" y="2404828"/>
              <a:ext cx="1882920" cy="2048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FDE877D2-86FE-3F24-CD18-C6625CF95B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9182" y="2482529"/>
              <a:ext cx="2005350" cy="18929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그룹 2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7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6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11745332" cy="477020"/>
          </a:xfrm>
        </p:spPr>
        <p:txBody>
          <a:bodyPr/>
          <a:lstStyle/>
          <a:p>
            <a:r>
              <a:rPr lang="en-US" altLang="ko-KR" sz="1800" b="1" dirty="0" smtClean="0"/>
              <a:t>1. </a:t>
            </a:r>
            <a:r>
              <a:rPr lang="ko-KR" altLang="en-US" sz="1800" b="1" dirty="0" smtClean="0"/>
              <a:t>아파트 가격 예측 서비스</a:t>
            </a:r>
            <a:endParaRPr lang="ko-KR" altLang="en-US" sz="1800" b="1" dirty="0"/>
          </a:p>
        </p:txBody>
      </p: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V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부록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207339" y="1052736"/>
            <a:ext cx="11777322" cy="872014"/>
            <a:chOff x="207339" y="1052736"/>
            <a:chExt cx="11777322" cy="872014"/>
          </a:xfrm>
        </p:grpSpPr>
        <p:sp>
          <p:nvSpPr>
            <p:cNvPr id="16" name="모서리가 둥근 직사각형 15"/>
            <p:cNvSpPr/>
            <p:nvPr/>
          </p:nvSpPr>
          <p:spPr>
            <a:xfrm>
              <a:off x="207339" y="1052736"/>
              <a:ext cx="11777322" cy="8720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" name="직사각형 3"/>
            <p:cNvSpPr/>
            <p:nvPr/>
          </p:nvSpPr>
          <p:spPr>
            <a:xfrm>
              <a:off x="2243572" y="1257911"/>
              <a:ext cx="770485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o-KR" altLang="en-US" sz="24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가설 : 인프라 수준이 높을 수록 부동산 가격의 상승을 </a:t>
              </a:r>
              <a:r>
                <a:rPr lang="ko-KR" altLang="en-US" sz="2400" dirty="0" smtClean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초래</a:t>
              </a:r>
              <a:endPara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4" name="그룹 23"/>
          <p:cNvGrpSpPr/>
          <p:nvPr/>
        </p:nvGrpSpPr>
        <p:grpSpPr>
          <a:xfrm>
            <a:off x="207339" y="2132856"/>
            <a:ext cx="11777322" cy="3444515"/>
            <a:chOff x="207339" y="2348880"/>
            <a:chExt cx="11777322" cy="3444515"/>
          </a:xfrm>
        </p:grpSpPr>
        <p:sp>
          <p:nvSpPr>
            <p:cNvPr id="23" name="모서리가 둥근 직사각형 22"/>
            <p:cNvSpPr/>
            <p:nvPr/>
          </p:nvSpPr>
          <p:spPr>
            <a:xfrm>
              <a:off x="207339" y="2348880"/>
              <a:ext cx="11777322" cy="3444515"/>
            </a:xfrm>
            <a:prstGeom prst="roundRect">
              <a:avLst>
                <a:gd name="adj" fmla="val 649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grpSp>
          <p:nvGrpSpPr>
            <p:cNvPr id="22" name="그룹 21"/>
            <p:cNvGrpSpPr/>
            <p:nvPr/>
          </p:nvGrpSpPr>
          <p:grpSpPr>
            <a:xfrm>
              <a:off x="385270" y="2456942"/>
              <a:ext cx="11421460" cy="3142036"/>
              <a:chOff x="380928" y="2922232"/>
              <a:chExt cx="11421460" cy="3142036"/>
            </a:xfrm>
          </p:grpSpPr>
          <p:pic>
            <p:nvPicPr>
              <p:cNvPr id="15" name="그림 14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797" b="14088"/>
              <a:stretch/>
            </p:blipFill>
            <p:spPr>
              <a:xfrm>
                <a:off x="4414509" y="3686426"/>
                <a:ext cx="7387879" cy="2377842"/>
              </a:xfrm>
              <a:prstGeom prst="roundRect">
                <a:avLst>
                  <a:gd name="adj" fmla="val 4833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/>
                </a:solidFill>
                <a:prstDash val="dash"/>
              </a:ln>
              <a:effectLst/>
            </p:spPr>
          </p:pic>
          <p:sp>
            <p:nvSpPr>
              <p:cNvPr id="17" name="직사각형 16"/>
              <p:cNvSpPr/>
              <p:nvPr/>
            </p:nvSpPr>
            <p:spPr>
              <a:xfrm>
                <a:off x="4439816" y="2922232"/>
                <a:ext cx="7337265" cy="7210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ko-KR" altLang="en-US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결과</a:t>
                </a:r>
                <a:r>
                  <a:rPr lang="en-US" altLang="ko-KR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: </a:t>
                </a:r>
                <a:r>
                  <a:rPr lang="ko-KR" altLang="en-US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고가의 아파트일 수록 생활인프라가 가까운가</a:t>
                </a:r>
                <a:r>
                  <a:rPr lang="en-US" altLang="ko-KR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? </a:t>
                </a:r>
                <a:r>
                  <a:rPr lang="ko-KR" altLang="en-US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가깝다</a:t>
                </a:r>
                <a:r>
                  <a:rPr lang="en-US" altLang="ko-KR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!</a:t>
                </a:r>
                <a:endParaRPr lang="ko-KR" altLang="en-US" sz="2400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grpSp>
            <p:nvGrpSpPr>
              <p:cNvPr id="20" name="그룹 19"/>
              <p:cNvGrpSpPr/>
              <p:nvPr/>
            </p:nvGrpSpPr>
            <p:grpSpPr>
              <a:xfrm>
                <a:off x="380928" y="3686426"/>
                <a:ext cx="3714114" cy="2377842"/>
                <a:chOff x="380928" y="3895667"/>
                <a:chExt cx="3714114" cy="2377842"/>
              </a:xfrm>
            </p:grpSpPr>
            <p:sp>
              <p:nvSpPr>
                <p:cNvPr id="26" name="사각형: 둥근 모서리 79">
                  <a:extLst>
                    <a:ext uri="{FF2B5EF4-FFF2-40B4-BE49-F238E27FC236}">
                      <a16:creationId xmlns:a16="http://schemas.microsoft.com/office/drawing/2014/main" id="{949D3F7C-9CC4-2775-5C69-19F507C303B6}"/>
                    </a:ext>
                  </a:extLst>
                </p:cNvPr>
                <p:cNvSpPr/>
                <p:nvPr/>
              </p:nvSpPr>
              <p:spPr>
                <a:xfrm>
                  <a:off x="380928" y="3895667"/>
                  <a:ext cx="3714114" cy="2377842"/>
                </a:xfrm>
                <a:prstGeom prst="roundRect">
                  <a:avLst>
                    <a:gd name="adj" fmla="val 10480"/>
                  </a:avLst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14" name="직사각형 13"/>
                <p:cNvSpPr/>
                <p:nvPr/>
              </p:nvSpPr>
              <p:spPr>
                <a:xfrm>
                  <a:off x="437785" y="4207425"/>
                  <a:ext cx="3600400" cy="175432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200000"/>
                    </a:lnSpc>
                  </a:pP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</a:t>
                  </a:r>
                  <a:r>
                    <a:rPr lang="ko-KR" altLang="en-US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범위</a:t>
                  </a: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 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서울시 구 아파트</a:t>
                  </a:r>
                  <a:endPara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>
                    <a:lnSpc>
                      <a:spcPct val="200000"/>
                    </a:lnSpc>
                  </a:pP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</a:t>
                  </a:r>
                  <a:r>
                    <a:rPr lang="ko-KR" altLang="en-US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대상</a:t>
                  </a: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</a:t>
                  </a:r>
                  <a:r>
                    <a:rPr lang="ko-KR" altLang="en-US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 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최고가 아파트, 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최저가 </a:t>
                  </a:r>
                  <a:r>
                    <a:rPr lang="ko-KR" altLang="en-US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아파트 </a:t>
                  </a:r>
                  <a:endParaRPr lang="en-US" altLang="ko-KR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>
                    <a:lnSpc>
                      <a:spcPct val="200000"/>
                    </a:lnSpc>
                  </a:pP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</a:t>
                  </a:r>
                  <a:r>
                    <a:rPr lang="ko-KR" altLang="en-US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확인 사항</a:t>
                  </a:r>
                  <a:r>
                    <a:rPr lang="en-US" altLang="ko-KR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 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아파트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-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인프라 간 거리</a:t>
                  </a:r>
                  <a:endPara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sp>
            <p:nvSpPr>
              <p:cNvPr id="28" name="직사각형 27"/>
              <p:cNvSpPr/>
              <p:nvPr/>
            </p:nvSpPr>
            <p:spPr>
              <a:xfrm>
                <a:off x="1840280" y="2922232"/>
                <a:ext cx="795411" cy="7210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ko-KR" altLang="en-US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조사</a:t>
                </a:r>
                <a:r>
                  <a:rPr lang="en-US" altLang="ko-KR" sz="2400" u="sng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!</a:t>
                </a:r>
                <a:endParaRPr lang="ko-KR" altLang="en-US" sz="2400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pic>
        <p:nvPicPr>
          <p:cNvPr id="19" name="그림 1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904" y="1898307"/>
            <a:ext cx="3790192" cy="478610"/>
          </a:xfrm>
          <a:prstGeom prst="rect">
            <a:avLst/>
          </a:prstGeom>
        </p:spPr>
      </p:pic>
      <p:sp>
        <p:nvSpPr>
          <p:cNvPr id="33" name="모서리가 둥근 직사각형 32"/>
          <p:cNvSpPr/>
          <p:nvPr/>
        </p:nvSpPr>
        <p:spPr>
          <a:xfrm>
            <a:off x="191344" y="5745550"/>
            <a:ext cx="11777322" cy="982935"/>
          </a:xfrm>
          <a:prstGeom prst="roundRect">
            <a:avLst>
              <a:gd name="adj" fmla="val 6495"/>
            </a:avLst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32" name="그림 3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904" y="5546172"/>
            <a:ext cx="3790192" cy="346628"/>
          </a:xfrm>
          <a:prstGeom prst="rect">
            <a:avLst/>
          </a:prstGeom>
        </p:spPr>
      </p:pic>
      <p:grpSp>
        <p:nvGrpSpPr>
          <p:cNvPr id="27" name="그룹 26"/>
          <p:cNvGrpSpPr/>
          <p:nvPr/>
        </p:nvGrpSpPr>
        <p:grpSpPr>
          <a:xfrm>
            <a:off x="749454" y="5821519"/>
            <a:ext cx="10661102" cy="830997"/>
            <a:chOff x="637556" y="5821519"/>
            <a:chExt cx="10661102" cy="830997"/>
          </a:xfrm>
        </p:grpSpPr>
        <p:sp>
          <p:nvSpPr>
            <p:cNvPr id="25" name="직사각형 24"/>
            <p:cNvSpPr/>
            <p:nvPr/>
          </p:nvSpPr>
          <p:spPr>
            <a:xfrm>
              <a:off x="1510414" y="5821519"/>
              <a:ext cx="8916223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아파트</a:t>
              </a:r>
              <a:r>
                <a:rPr lang="en-US" altLang="ko-KR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-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인프라 간 평균거리를 계산해서 이를 기준으로 인프라 </a:t>
              </a:r>
              <a:r>
                <a:rPr lang="ko-KR" altLang="en-US" sz="2400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등급표</a:t>
              </a:r>
              <a:r>
                <a:rPr lang="ko-KR" altLang="en-US" sz="24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작성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6146" name="Picture 2" descr="Grade Vector Icons free download in SVG, PNG Format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4903" y="5840140"/>
              <a:ext cx="793755" cy="793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8" name="Picture 4" descr="Distance - Free travel icons"/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556" y="5839722"/>
              <a:ext cx="794591" cy="794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3344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1904361" cy="477020"/>
          </a:xfrm>
        </p:spPr>
        <p:txBody>
          <a:bodyPr/>
          <a:lstStyle/>
          <a:p>
            <a:r>
              <a:rPr lang="en-US" altLang="ko-KR" sz="1800" b="1" dirty="0"/>
              <a:t>2</a:t>
            </a:r>
            <a:r>
              <a:rPr lang="en-US" altLang="ko-KR" sz="1800" b="1" dirty="0" smtClean="0"/>
              <a:t>. </a:t>
            </a:r>
            <a:r>
              <a:rPr lang="ko-KR" altLang="en-US" sz="1800" b="1" dirty="0" smtClean="0"/>
              <a:t>추후 발전 방향</a:t>
            </a:r>
            <a:endParaRPr lang="ko-KR" altLang="en-US" sz="1800" b="1" dirty="0"/>
          </a:p>
        </p:txBody>
      </p: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V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부록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</a:p>
          </p:txBody>
        </p:sp>
      </p:grpSp>
      <p:sp>
        <p:nvSpPr>
          <p:cNvPr id="70" name="모서리가 둥근 직사각형 69"/>
          <p:cNvSpPr/>
          <p:nvPr/>
        </p:nvSpPr>
        <p:spPr>
          <a:xfrm>
            <a:off x="223334" y="1694020"/>
            <a:ext cx="11745332" cy="4759316"/>
          </a:xfrm>
          <a:prstGeom prst="roundRect">
            <a:avLst>
              <a:gd name="adj" fmla="val 5885"/>
            </a:avLst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2" name="텍스트 개체 틀 2"/>
          <p:cNvSpPr txBox="1">
            <a:spLocks/>
          </p:cNvSpPr>
          <p:nvPr/>
        </p:nvSpPr>
        <p:spPr>
          <a:xfrm>
            <a:off x="2127694" y="1151780"/>
            <a:ext cx="7936613" cy="4770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800" b="1" u="sng" dirty="0" smtClean="0"/>
              <a:t>시나리오 기반 매물 추천 솔루션 </a:t>
            </a:r>
            <a:r>
              <a:rPr lang="en-US" altLang="ko-KR" sz="2800" b="1" u="sng" dirty="0" smtClean="0"/>
              <a:t>(</a:t>
            </a:r>
            <a:r>
              <a:rPr lang="ko-KR" altLang="en-US" sz="2800" b="1" u="sng" dirty="0" err="1" smtClean="0"/>
              <a:t>가상인물</a:t>
            </a:r>
            <a:r>
              <a:rPr lang="ko-KR" altLang="en-US" sz="2800" b="1" u="sng" dirty="0" smtClean="0"/>
              <a:t> 김모씨 사례</a:t>
            </a:r>
            <a:r>
              <a:rPr lang="en-US" altLang="ko-KR" sz="2800" b="1" u="sng" dirty="0" smtClean="0"/>
              <a:t>)</a:t>
            </a:r>
            <a:endParaRPr lang="ko-KR" altLang="en-US" sz="2800" b="1" u="sng" dirty="0"/>
          </a:p>
        </p:txBody>
      </p:sp>
      <p:sp>
        <p:nvSpPr>
          <p:cNvPr id="73" name="텍스트 개체 틀 2"/>
          <p:cNvSpPr txBox="1">
            <a:spLocks/>
          </p:cNvSpPr>
          <p:nvPr/>
        </p:nvSpPr>
        <p:spPr>
          <a:xfrm>
            <a:off x="8192269" y="2035571"/>
            <a:ext cx="1152128" cy="4770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800" b="1" dirty="0" smtClean="0">
                <a:solidFill>
                  <a:schemeClr val="bg2">
                    <a:lumMod val="50000"/>
                  </a:schemeClr>
                </a:solidFill>
              </a:rPr>
              <a:t>기준</a:t>
            </a:r>
            <a:r>
              <a:rPr lang="en-US" altLang="ko-KR" sz="2800" b="1" dirty="0" smtClean="0">
                <a:solidFill>
                  <a:schemeClr val="bg2">
                    <a:lumMod val="50000"/>
                  </a:schemeClr>
                </a:solidFill>
              </a:rPr>
              <a:t>2</a:t>
            </a:r>
            <a:endParaRPr lang="ko-KR" alt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5787984" y="2584599"/>
            <a:ext cx="5960699" cy="1042547"/>
            <a:chOff x="5756818" y="5229200"/>
            <a:chExt cx="5960699" cy="1042547"/>
          </a:xfrm>
        </p:grpSpPr>
        <p:sp>
          <p:nvSpPr>
            <p:cNvPr id="34" name="모서리가 둥근 직사각형 33"/>
            <p:cNvSpPr/>
            <p:nvPr/>
          </p:nvSpPr>
          <p:spPr>
            <a:xfrm>
              <a:off x="5756818" y="5229200"/>
              <a:ext cx="5960699" cy="1042547"/>
            </a:xfrm>
            <a:prstGeom prst="roundRect">
              <a:avLst>
                <a:gd name="adj" fmla="val 5569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0A097CF-F904-79E3-EC4D-54F32CB741BA}"/>
                </a:ext>
              </a:extLst>
            </p:cNvPr>
            <p:cNvSpPr txBox="1"/>
            <p:nvPr/>
          </p:nvSpPr>
          <p:spPr>
            <a:xfrm>
              <a:off x="5770475" y="5519641"/>
              <a:ext cx="593561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무주택자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나이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자산규모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가구 인원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소득수준</a:t>
              </a:r>
              <a:endParaRPr lang="en-US" altLang="ko-KR" sz="2400" b="1" dirty="0" smtClean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sp>
        <p:nvSpPr>
          <p:cNvPr id="76" name="텍스트 개체 틀 2"/>
          <p:cNvSpPr txBox="1">
            <a:spLocks/>
          </p:cNvSpPr>
          <p:nvPr/>
        </p:nvSpPr>
        <p:spPr>
          <a:xfrm>
            <a:off x="2354223" y="2035571"/>
            <a:ext cx="1152128" cy="4770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800" b="1" dirty="0" smtClean="0">
                <a:solidFill>
                  <a:schemeClr val="bg2">
                    <a:lumMod val="50000"/>
                  </a:schemeClr>
                </a:solidFill>
              </a:rPr>
              <a:t>기준</a:t>
            </a:r>
            <a:r>
              <a:rPr lang="en-US" altLang="ko-KR" sz="2800" b="1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endParaRPr lang="ko-KR" altLang="en-US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443318" y="2584599"/>
            <a:ext cx="4973939" cy="1042547"/>
          </a:xfrm>
          <a:prstGeom prst="roundRect">
            <a:avLst>
              <a:gd name="adj" fmla="val 5569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8" name="그룹 87"/>
          <p:cNvGrpSpPr/>
          <p:nvPr/>
        </p:nvGrpSpPr>
        <p:grpSpPr>
          <a:xfrm>
            <a:off x="5787985" y="3880743"/>
            <a:ext cx="5960698" cy="2231043"/>
            <a:chOff x="5756819" y="2852936"/>
            <a:chExt cx="5960698" cy="2231043"/>
          </a:xfrm>
        </p:grpSpPr>
        <p:sp>
          <p:nvSpPr>
            <p:cNvPr id="37" name="모서리가 둥근 직사각형 36"/>
            <p:cNvSpPr/>
            <p:nvPr/>
          </p:nvSpPr>
          <p:spPr>
            <a:xfrm>
              <a:off x="5756819" y="2852936"/>
              <a:ext cx="5960698" cy="2231043"/>
            </a:xfrm>
            <a:prstGeom prst="roundRect">
              <a:avLst>
                <a:gd name="adj" fmla="val 4371"/>
              </a:avLst>
            </a:prstGeom>
            <a:solidFill>
              <a:srgbClr val="404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0A097CF-F904-79E3-EC4D-54F32CB741BA}"/>
                </a:ext>
              </a:extLst>
            </p:cNvPr>
            <p:cNvSpPr txBox="1"/>
            <p:nvPr/>
          </p:nvSpPr>
          <p:spPr>
            <a:xfrm>
              <a:off x="5806833" y="3368293"/>
              <a:ext cx="586067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무주택자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나이 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: 20~30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 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자산 규모 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: 5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억 원</a:t>
              </a:r>
              <a:endParaRPr lang="en-US" altLang="ko-KR" sz="24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  <a:p>
              <a:pPr algn="ctr"/>
              <a:endParaRPr lang="en-US" altLang="ko-KR" sz="24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  <a:p>
              <a:pPr algn="ctr"/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주거 인원 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: 2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명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, 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봉 </a:t>
              </a:r>
              <a:r>
                <a:rPr lang="en-US" altLang="ko-KR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: 5</a:t>
              </a:r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천 만원</a:t>
              </a:r>
              <a:endParaRPr lang="en-US" altLang="ko-KR" sz="2400" b="1" dirty="0" smtClean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92" name="그룹 91"/>
          <p:cNvGrpSpPr/>
          <p:nvPr/>
        </p:nvGrpSpPr>
        <p:grpSpPr>
          <a:xfrm>
            <a:off x="443318" y="3880743"/>
            <a:ext cx="4973940" cy="2231043"/>
            <a:chOff x="412152" y="2852936"/>
            <a:chExt cx="4973940" cy="2231043"/>
          </a:xfrm>
        </p:grpSpPr>
        <p:sp>
          <p:nvSpPr>
            <p:cNvPr id="89" name="모서리가 둥근 직사각형 88"/>
            <p:cNvSpPr/>
            <p:nvPr/>
          </p:nvSpPr>
          <p:spPr>
            <a:xfrm>
              <a:off x="412152" y="2852936"/>
              <a:ext cx="4973940" cy="2231043"/>
            </a:xfrm>
            <a:prstGeom prst="roundRect">
              <a:avLst>
                <a:gd name="adj" fmla="val 4371"/>
              </a:avLst>
            </a:prstGeom>
            <a:solidFill>
              <a:srgbClr val="404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F0A097CF-F904-79E3-EC4D-54F32CB741BA}"/>
                </a:ext>
              </a:extLst>
            </p:cNvPr>
            <p:cNvSpPr txBox="1"/>
            <p:nvPr/>
          </p:nvSpPr>
          <p:spPr>
            <a:xfrm>
              <a:off x="481123" y="3183627"/>
              <a:ext cx="4835999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2400" b="1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defRPr>
              </a:lvl1pPr>
            </a:lstStyle>
            <a:p>
              <a:r>
                <a:rPr lang="en-US" altLang="ko-KR" dirty="0" smtClean="0"/>
                <a:t>“</a:t>
              </a:r>
              <a:r>
                <a:rPr lang="ko-KR" altLang="en-US" dirty="0" smtClean="0"/>
                <a:t>저는 </a:t>
              </a:r>
              <a:r>
                <a:rPr lang="ko-KR" altLang="en-US" dirty="0"/>
                <a:t>직장인이고 아내와 같이 살집을 </a:t>
              </a:r>
              <a:endParaRPr lang="en-US" altLang="ko-KR" dirty="0" smtClean="0"/>
            </a:p>
            <a:p>
              <a:r>
                <a:rPr lang="ko-KR" altLang="en-US" dirty="0" smtClean="0"/>
                <a:t>구하고 </a:t>
              </a:r>
              <a:r>
                <a:rPr lang="ko-KR" altLang="en-US" dirty="0"/>
                <a:t>있으며, 지하철역이 가까운 곳을 </a:t>
              </a:r>
              <a:endParaRPr lang="en-US" altLang="ko-KR" dirty="0" smtClean="0"/>
            </a:p>
            <a:p>
              <a:r>
                <a:rPr lang="ko-KR" altLang="en-US" dirty="0" smtClean="0"/>
                <a:t>선호하며 러닝을 </a:t>
              </a:r>
              <a:r>
                <a:rPr lang="ko-KR" altLang="en-US" dirty="0"/>
                <a:t>즐겨 해서 집 주변에 </a:t>
              </a:r>
              <a:endParaRPr lang="en-US" altLang="ko-KR" dirty="0" smtClean="0"/>
            </a:p>
            <a:p>
              <a:r>
                <a:rPr lang="ko-KR" altLang="en-US" dirty="0" smtClean="0"/>
                <a:t>공원이 </a:t>
              </a:r>
              <a:r>
                <a:rPr lang="ko-KR" altLang="en-US" dirty="0"/>
                <a:t>있으며 좋을 것 같아요</a:t>
              </a:r>
              <a:r>
                <a:rPr lang="ko-KR" altLang="en-US" dirty="0" smtClean="0"/>
                <a:t>.</a:t>
              </a:r>
              <a:r>
                <a:rPr lang="en-US" altLang="ko-KR" dirty="0" smtClean="0"/>
                <a:t>”</a:t>
              </a:r>
              <a:endParaRPr lang="ko-KR" altLang="en-US" dirty="0"/>
            </a:p>
          </p:txBody>
        </p:sp>
      </p:grpSp>
      <p:pic>
        <p:nvPicPr>
          <p:cNvPr id="17410" name="Picture 2" descr="Human Pictogram Icons - Free SVG &amp; PNG Human Pictogram Images - Noun Projec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4860" y="740043"/>
            <a:ext cx="888757" cy="88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9" name="그룹 98"/>
          <p:cNvGrpSpPr/>
          <p:nvPr/>
        </p:nvGrpSpPr>
        <p:grpSpPr>
          <a:xfrm>
            <a:off x="1110149" y="2654000"/>
            <a:ext cx="3640276" cy="903744"/>
            <a:chOff x="1253022" y="2654000"/>
            <a:chExt cx="3640276" cy="903744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F0A097CF-F904-79E3-EC4D-54F32CB741BA}"/>
                </a:ext>
              </a:extLst>
            </p:cNvPr>
            <p:cNvSpPr txBox="1"/>
            <p:nvPr/>
          </p:nvSpPr>
          <p:spPr>
            <a:xfrm>
              <a:off x="1934715" y="2875040"/>
              <a:ext cx="1807336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4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선호 인프라</a:t>
              </a:r>
              <a:endParaRPr lang="en-US" altLang="ko-KR" sz="2400" b="1" dirty="0" smtClean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96" name="그림 95"/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23749" t="12213" r="24181" b="11074"/>
            <a:stretch/>
          </p:blipFill>
          <p:spPr>
            <a:xfrm>
              <a:off x="1253022" y="2671406"/>
              <a:ext cx="589790" cy="868933"/>
            </a:xfrm>
            <a:prstGeom prst="rect">
              <a:avLst/>
            </a:prstGeom>
          </p:spPr>
        </p:pic>
        <p:pic>
          <p:nvPicPr>
            <p:cNvPr id="98" name="그림 97"/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11498" t="17064" r="10704" b="16565"/>
            <a:stretch/>
          </p:blipFill>
          <p:spPr>
            <a:xfrm>
              <a:off x="3833955" y="2654000"/>
              <a:ext cx="1059343" cy="9037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2626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1904361" cy="477020"/>
          </a:xfrm>
        </p:spPr>
        <p:txBody>
          <a:bodyPr/>
          <a:lstStyle/>
          <a:p>
            <a:r>
              <a:rPr lang="en-US" altLang="ko-KR" sz="1800" b="1" dirty="0"/>
              <a:t>2</a:t>
            </a:r>
            <a:r>
              <a:rPr lang="en-US" altLang="ko-KR" sz="1800" b="1" dirty="0" smtClean="0"/>
              <a:t>. </a:t>
            </a:r>
            <a:r>
              <a:rPr lang="ko-KR" altLang="en-US" sz="1800" b="1" dirty="0" smtClean="0"/>
              <a:t>추후 발전 방향</a:t>
            </a:r>
            <a:endParaRPr lang="ko-KR" altLang="en-US" sz="1800" b="1" dirty="0"/>
          </a:p>
        </p:txBody>
      </p: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V.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부록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9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10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11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1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1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</a:p>
          </p:txBody>
        </p:sp>
      </p:grpSp>
      <p:sp>
        <p:nvSpPr>
          <p:cNvPr id="70" name="모서리가 둥근 직사각형 69"/>
          <p:cNvSpPr/>
          <p:nvPr/>
        </p:nvSpPr>
        <p:spPr>
          <a:xfrm>
            <a:off x="223334" y="1694020"/>
            <a:ext cx="11745332" cy="4759316"/>
          </a:xfrm>
          <a:prstGeom prst="roundRect">
            <a:avLst>
              <a:gd name="adj" fmla="val 5885"/>
            </a:avLst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2" name="텍스트 개체 틀 2"/>
          <p:cNvSpPr txBox="1">
            <a:spLocks/>
          </p:cNvSpPr>
          <p:nvPr/>
        </p:nvSpPr>
        <p:spPr>
          <a:xfrm>
            <a:off x="1483555" y="1151780"/>
            <a:ext cx="9224890" cy="4770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800" b="1" u="sng" dirty="0" smtClean="0"/>
              <a:t>고객 </a:t>
            </a:r>
            <a:r>
              <a:rPr lang="ko-KR" altLang="en-US" sz="2800" b="1" u="sng" dirty="0" err="1" smtClean="0"/>
              <a:t>상황별</a:t>
            </a:r>
            <a:r>
              <a:rPr lang="ko-KR" altLang="en-US" sz="2800" b="1" u="sng" dirty="0" smtClean="0"/>
              <a:t> 데이터 수집 및 인프라 접근성 등급 분류</a:t>
            </a:r>
            <a:endParaRPr lang="ko-KR" altLang="en-US" sz="2800" b="1" u="sng" dirty="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8408626"/>
              </p:ext>
            </p:extLst>
          </p:nvPr>
        </p:nvGraphicFramePr>
        <p:xfrm>
          <a:off x="2066664" y="2040632"/>
          <a:ext cx="8058672" cy="16764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3112">
                  <a:extLst>
                    <a:ext uri="{9D8B030D-6E8A-4147-A177-3AD203B41FA5}">
                      <a16:colId xmlns:a16="http://schemas.microsoft.com/office/drawing/2014/main" val="2204897381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1361134500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1234755832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4169106691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3215370736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1756931182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인프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r>
                        <a:rPr lang="ko-KR" altLang="en-US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r>
                        <a:rPr lang="ko-KR" altLang="en-US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r>
                        <a:rPr lang="ko-KR" altLang="en-US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r>
                        <a:rPr lang="ko-KR" altLang="en-US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r>
                        <a:rPr lang="ko-KR" altLang="en-US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78898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하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25.0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64.8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04.5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44.2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8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607801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초등학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86.3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08.0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29.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51.3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73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022810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중학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47.7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20.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92.6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65.0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37.5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550051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고등학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47.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67.9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88.7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09.5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30.3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74112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종합병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306.9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364.4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42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479.5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537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902761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90.4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983.5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076.6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169.7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262.8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224829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공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974.4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129.1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283.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438.4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593.1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340277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4237315"/>
              </p:ext>
            </p:extLst>
          </p:nvPr>
        </p:nvGraphicFramePr>
        <p:xfrm>
          <a:off x="2066664" y="4005064"/>
          <a:ext cx="8058672" cy="221534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3112">
                  <a:extLst>
                    <a:ext uri="{9D8B030D-6E8A-4147-A177-3AD203B41FA5}">
                      <a16:colId xmlns:a16="http://schemas.microsoft.com/office/drawing/2014/main" val="1888764949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265038232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2626689867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4261674173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3466543196"/>
                    </a:ext>
                  </a:extLst>
                </a:gridCol>
                <a:gridCol w="1343112">
                  <a:extLst>
                    <a:ext uri="{9D8B030D-6E8A-4147-A177-3AD203B41FA5}">
                      <a16:colId xmlns:a16="http://schemas.microsoft.com/office/drawing/2014/main" val="1052926740"/>
                    </a:ext>
                  </a:extLst>
                </a:gridCol>
              </a:tblGrid>
              <a:tr h="154834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고객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나이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희망 금액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가구 인원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선호인프라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-1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망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선호인프라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-2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망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5274981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신정윤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5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하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0299098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박주찬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0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초등학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종합병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0235216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오승필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0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하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69487388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성우진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,00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고등학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공원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0736900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이의재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5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종합병원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5545014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파이썬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5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공원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하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5731448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딥러닝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0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종합병원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65273696"/>
                  </a:ext>
                </a:extLst>
              </a:tr>
              <a:tr h="25477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u="none" strike="noStrike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판다스님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9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,000,00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dirty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공원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dirty="0" smtClean="0">
                          <a:effectLst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형마트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767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088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그룹 6"/>
          <p:cNvGrpSpPr/>
          <p:nvPr/>
        </p:nvGrpSpPr>
        <p:grpSpPr>
          <a:xfrm>
            <a:off x="0" y="0"/>
            <a:ext cx="12192000" cy="1658596"/>
            <a:chOff x="0" y="2396909"/>
            <a:chExt cx="12192000" cy="1986833"/>
          </a:xfrm>
        </p:grpSpPr>
        <p:sp>
          <p:nvSpPr>
            <p:cNvPr id="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0" y="2405845"/>
              <a:ext cx="12192000" cy="196896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  <a:alpha val="70000"/>
              </a:schemeClr>
            </a:solidFill>
            <a:ln w="6350" cap="flat" cmpd="sng" algn="ctr">
              <a:noFill/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4534515" y="2396909"/>
              <a:ext cx="3122970" cy="1986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End of Page</a:t>
              </a:r>
            </a:p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 </a:t>
              </a:r>
              <a:r>
                <a:rPr kumimoji="1" lang="ko-KR" altLang="en-US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감 사 합 니 다</a:t>
              </a: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</a:t>
              </a:r>
              <a:endPara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6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64042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도시 양극화의 정의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23" name="그룹 2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7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pic>
        <p:nvPicPr>
          <p:cNvPr id="17" name="그림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730" y="734457"/>
            <a:ext cx="9240540" cy="5934903"/>
          </a:xfrm>
          <a:prstGeom prst="roundRect">
            <a:avLst>
              <a:gd name="adj" fmla="val 517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92344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왜 양극화 인가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?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3ACA71B-7121-BC8C-CF0C-F43DE07BF5E2}"/>
              </a:ext>
            </a:extLst>
          </p:cNvPr>
          <p:cNvGrpSpPr/>
          <p:nvPr/>
        </p:nvGrpSpPr>
        <p:grpSpPr>
          <a:xfrm>
            <a:off x="1188744" y="1009442"/>
            <a:ext cx="9814513" cy="5515902"/>
            <a:chOff x="1188744" y="1009442"/>
            <a:chExt cx="9814513" cy="5515902"/>
          </a:xfrm>
        </p:grpSpPr>
        <p:sp>
          <p:nvSpPr>
            <p:cNvPr id="32" name="오른쪽 화살표 89">
              <a:extLst>
                <a:ext uri="{FF2B5EF4-FFF2-40B4-BE49-F238E27FC236}">
                  <a16:creationId xmlns:a16="http://schemas.microsoft.com/office/drawing/2014/main" id="{43CAE33E-2E5D-39DE-C13D-59A1D55B13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3496287" y="2689476"/>
              <a:ext cx="5199426" cy="1226691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3577169" y="1009442"/>
              <a:ext cx="5037662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왜 양극화 인가</a:t>
              </a:r>
              <a:r>
                <a:rPr lang="en-US" altLang="ko-KR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18C1D4C8-0AC7-E8C9-CA23-2EE2A47D6A69}"/>
                </a:ext>
              </a:extLst>
            </p:cNvPr>
            <p:cNvGrpSpPr/>
            <p:nvPr/>
          </p:nvGrpSpPr>
          <p:grpSpPr>
            <a:xfrm>
              <a:off x="1188744" y="5035312"/>
              <a:ext cx="9814512" cy="1490032"/>
              <a:chOff x="1149685" y="5035312"/>
              <a:chExt cx="9814512" cy="1490032"/>
            </a:xfrm>
          </p:grpSpPr>
          <p:sp>
            <p:nvSpPr>
              <p:cNvPr id="3" name="사각형: 둥근 모서리 79">
                <a:extLst>
                  <a:ext uri="{FF2B5EF4-FFF2-40B4-BE49-F238E27FC236}">
                    <a16:creationId xmlns:a16="http://schemas.microsoft.com/office/drawing/2014/main" id="{DF4D2056-26EF-A27B-6197-EEDFFBB396C5}"/>
                  </a:ext>
                </a:extLst>
              </p:cNvPr>
              <p:cNvSpPr/>
              <p:nvPr/>
            </p:nvSpPr>
            <p:spPr>
              <a:xfrm>
                <a:off x="1149685" y="5035312"/>
                <a:ext cx="9814512" cy="1490032"/>
              </a:xfrm>
              <a:prstGeom prst="roundRect">
                <a:avLst>
                  <a:gd name="adj" fmla="val 12722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80E80-DC13-DB8D-FF8B-25073FEC76DF}"/>
                  </a:ext>
                </a:extLst>
              </p:cNvPr>
              <p:cNvSpPr txBox="1"/>
              <p:nvPr/>
            </p:nvSpPr>
            <p:spPr>
              <a:xfrm>
                <a:off x="1149685" y="5241719"/>
                <a:ext cx="9814512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에서 지역소멸 및 지방소멸 문제를 심각하게 인식 중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</a:t>
                </a:r>
              </a:p>
              <a:p>
                <a:pPr algn="ctr"/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에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2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지역 소멸위기 해소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에 도움이 되고자 함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”</a:t>
                </a:r>
              </a:p>
            </p:txBody>
          </p:sp>
        </p:grpSp>
        <p:sp>
          <p:nvSpPr>
            <p:cNvPr id="6" name="사다리꼴 5">
              <a:extLst>
                <a:ext uri="{FF2B5EF4-FFF2-40B4-BE49-F238E27FC236}">
                  <a16:creationId xmlns:a16="http://schemas.microsoft.com/office/drawing/2014/main" id="{D5632970-BEFE-DE4F-674B-B4BF80066026}"/>
                </a:ext>
              </a:extLst>
            </p:cNvPr>
            <p:cNvSpPr/>
            <p:nvPr/>
          </p:nvSpPr>
          <p:spPr>
            <a:xfrm>
              <a:off x="1307468" y="4438848"/>
              <a:ext cx="9577064" cy="596464"/>
            </a:xfrm>
            <a:prstGeom prst="trapezoid">
              <a:avLst>
                <a:gd name="adj" fmla="val 699340"/>
              </a:avLst>
            </a:prstGeom>
            <a:gradFill flip="none" rotWithShape="1">
              <a:gsLst>
                <a:gs pos="59000">
                  <a:srgbClr val="D9D9D9"/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515414FF-DD25-ECD0-363C-47472D99EA5B}"/>
                </a:ext>
              </a:extLst>
            </p:cNvPr>
            <p:cNvSpPr/>
            <p:nvPr/>
          </p:nvSpPr>
          <p:spPr>
            <a:xfrm>
              <a:off x="4411389" y="1975063"/>
              <a:ext cx="3369225" cy="2655516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6148" name="Picture 4">
              <a:extLst>
                <a:ext uri="{FF2B5EF4-FFF2-40B4-BE49-F238E27FC236}">
                  <a16:creationId xmlns:a16="http://schemas.microsoft.com/office/drawing/2014/main" id="{8F10F132-06EC-E6EA-5867-48BD46466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781" y="1975063"/>
              <a:ext cx="2182442" cy="2655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EE9342C1-5F3A-02A9-CE79-3CAADF0823D3}"/>
                </a:ext>
              </a:extLst>
            </p:cNvPr>
            <p:cNvSpPr/>
            <p:nvPr/>
          </p:nvSpPr>
          <p:spPr>
            <a:xfrm>
              <a:off x="8695715" y="1975063"/>
              <a:ext cx="2307542" cy="2655516"/>
            </a:xfrm>
            <a:prstGeom prst="roundRect">
              <a:avLst>
                <a:gd name="adj" fmla="val 10480"/>
              </a:avLst>
            </a:prstGeom>
            <a:solidFill>
              <a:srgbClr val="E40200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5A8E9C5-EC3D-9C23-B164-3F1B5487674E}"/>
                </a:ext>
              </a:extLst>
            </p:cNvPr>
            <p:cNvSpPr txBox="1"/>
            <p:nvPr/>
          </p:nvSpPr>
          <p:spPr>
            <a:xfrm>
              <a:off x="9295959" y="2979656"/>
              <a:ext cx="110705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심각</a:t>
              </a:r>
              <a:endParaRPr lang="ko-KR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B45CE944-5CB8-09C5-C1EB-89DAA9918182}"/>
                </a:ext>
              </a:extLst>
            </p:cNvPr>
            <p:cNvSpPr/>
            <p:nvPr/>
          </p:nvSpPr>
          <p:spPr>
            <a:xfrm>
              <a:off x="1188744" y="1975063"/>
              <a:ext cx="2307545" cy="2655516"/>
            </a:xfrm>
            <a:prstGeom prst="roundRect">
              <a:avLst>
                <a:gd name="adj" fmla="val 10480"/>
              </a:avLst>
            </a:prstGeom>
            <a:solidFill>
              <a:srgbClr val="A7FE02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84C37C-66CA-63AB-CD19-8E8E52480B7F}"/>
                </a:ext>
              </a:extLst>
            </p:cNvPr>
            <p:cNvSpPr txBox="1"/>
            <p:nvPr/>
          </p:nvSpPr>
          <p:spPr>
            <a:xfrm>
              <a:off x="1743916" y="2979656"/>
              <a:ext cx="11972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양호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71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89BEEE8-6A42-3F10-68FE-7E808196777E}"/>
              </a:ext>
            </a:extLst>
          </p:cNvPr>
          <p:cNvSpPr/>
          <p:nvPr/>
        </p:nvSpPr>
        <p:spPr>
          <a:xfrm>
            <a:off x="3348489" y="1049468"/>
            <a:ext cx="5495022" cy="5672423"/>
          </a:xfrm>
          <a:prstGeom prst="roundRect">
            <a:avLst>
              <a:gd name="adj" fmla="val 6410"/>
            </a:avLst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4162" y="1734645"/>
            <a:ext cx="3763677" cy="2327095"/>
          </a:xfrm>
          <a:prstGeom prst="rect">
            <a:avLst/>
          </a:prstGeom>
        </p:spPr>
      </p:pic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549031"/>
            <a:ext cx="11745332" cy="404431"/>
          </a:xfrm>
        </p:spPr>
        <p:txBody>
          <a:bodyPr/>
          <a:lstStyle/>
          <a:p>
            <a:r>
              <a:rPr lang="ko-KR" altLang="en-US" sz="1800" b="1" dirty="0"/>
              <a:t>분석 대상 </a:t>
            </a:r>
            <a:r>
              <a:rPr lang="en-US" altLang="ko-KR" sz="1800" b="1" dirty="0"/>
              <a:t>: </a:t>
            </a:r>
            <a:r>
              <a:rPr lang="ko-KR" altLang="en-US" sz="1800" b="1" dirty="0"/>
              <a:t>충청권 도시들 </a:t>
            </a:r>
            <a:r>
              <a:rPr lang="en-US" altLang="ko-KR" sz="1800" b="1" dirty="0"/>
              <a:t>(</a:t>
            </a:r>
            <a:r>
              <a:rPr lang="ko-KR" altLang="en-US" sz="1800" b="1" dirty="0"/>
              <a:t>세종</a:t>
            </a:r>
            <a:r>
              <a:rPr lang="en-US" altLang="ko-KR" sz="1800" b="1" dirty="0"/>
              <a:t>, </a:t>
            </a:r>
            <a:r>
              <a:rPr lang="ko-KR" altLang="en-US" sz="1800" b="1" dirty="0"/>
              <a:t>대전</a:t>
            </a:r>
            <a:r>
              <a:rPr lang="en-US" altLang="ko-KR" sz="1800" b="1" dirty="0"/>
              <a:t>, </a:t>
            </a:r>
            <a:r>
              <a:rPr lang="ko-KR" altLang="en-US" sz="1800" b="1" dirty="0"/>
              <a:t>충북</a:t>
            </a:r>
            <a:r>
              <a:rPr lang="en-US" altLang="ko-KR" sz="1800" b="1" dirty="0"/>
              <a:t>, </a:t>
            </a:r>
            <a:r>
              <a:rPr lang="ko-KR" altLang="en-US" sz="1800" b="1" dirty="0"/>
              <a:t>충남</a:t>
            </a:r>
            <a:r>
              <a:rPr lang="en-US" altLang="ko-KR" sz="1800" b="1" dirty="0"/>
              <a:t>)</a:t>
            </a:r>
            <a:endParaRPr lang="ko-KR" altLang="en-US" sz="1800" b="1" dirty="0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7844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-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대상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157ADD-76F4-E23A-7291-F7B97304BDA4}"/>
              </a:ext>
            </a:extLst>
          </p:cNvPr>
          <p:cNvSpPr txBox="1"/>
          <p:nvPr/>
        </p:nvSpPr>
        <p:spPr>
          <a:xfrm>
            <a:off x="5231554" y="1213583"/>
            <a:ext cx="17288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 이유</a:t>
            </a: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B1592C9-A827-30EA-847C-853FE9A7B784}"/>
              </a:ext>
            </a:extLst>
          </p:cNvPr>
          <p:cNvGrpSpPr/>
          <p:nvPr/>
        </p:nvGrpSpPr>
        <p:grpSpPr>
          <a:xfrm>
            <a:off x="243483" y="1031305"/>
            <a:ext cx="2520000" cy="5672423"/>
            <a:chOff x="223334" y="1031305"/>
            <a:chExt cx="2520000" cy="5672423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DF174252-8FA2-599C-45FC-6A0F31C382BF}"/>
                </a:ext>
              </a:extLst>
            </p:cNvPr>
            <p:cNvSpPr/>
            <p:nvPr/>
          </p:nvSpPr>
          <p:spPr>
            <a:xfrm>
              <a:off x="223334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37214426-F16D-13F6-61AE-7047B8F7486A}"/>
                </a:ext>
              </a:extLst>
            </p:cNvPr>
            <p:cNvGrpSpPr/>
            <p:nvPr/>
          </p:nvGrpSpPr>
          <p:grpSpPr>
            <a:xfrm>
              <a:off x="399364" y="1213583"/>
              <a:ext cx="2167941" cy="5307866"/>
              <a:chOff x="406712" y="1213583"/>
              <a:chExt cx="2167941" cy="5307866"/>
            </a:xfrm>
          </p:grpSpPr>
          <p:grpSp>
            <p:nvGrpSpPr>
              <p:cNvPr id="71" name="그룹 70">
                <a:extLst>
                  <a:ext uri="{FF2B5EF4-FFF2-40B4-BE49-F238E27FC236}">
                    <a16:creationId xmlns:a16="http://schemas.microsoft.com/office/drawing/2014/main" id="{77753805-DD97-1CF3-AE91-08BB3BEAEA5F}"/>
                  </a:ext>
                </a:extLst>
              </p:cNvPr>
              <p:cNvGrpSpPr/>
              <p:nvPr/>
            </p:nvGrpSpPr>
            <p:grpSpPr>
              <a:xfrm>
                <a:off x="406712" y="4353508"/>
                <a:ext cx="2167941" cy="2167941"/>
                <a:chOff x="3594822" y="1286587"/>
                <a:chExt cx="2167941" cy="2167941"/>
              </a:xfrm>
            </p:grpSpPr>
            <p:sp>
              <p:nvSpPr>
                <p:cNvPr id="44" name="타원 43"/>
                <p:cNvSpPr/>
                <p:nvPr/>
              </p:nvSpPr>
              <p:spPr>
                <a:xfrm>
                  <a:off x="3594822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48" name="그림 4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736026" y="1848686"/>
                  <a:ext cx="1885534" cy="1043744"/>
                </a:xfrm>
                <a:prstGeom prst="rect">
                  <a:avLst/>
                </a:prstGeom>
              </p:spPr>
            </p:pic>
          </p:grpSp>
          <p:grpSp>
            <p:nvGrpSpPr>
              <p:cNvPr id="72" name="그룹 71">
                <a:extLst>
                  <a:ext uri="{FF2B5EF4-FFF2-40B4-BE49-F238E27FC236}">
                    <a16:creationId xmlns:a16="http://schemas.microsoft.com/office/drawing/2014/main" id="{5CB6DEE2-FD59-6AA3-0F89-4AB120F0CBA5}"/>
                  </a:ext>
                </a:extLst>
              </p:cNvPr>
              <p:cNvGrpSpPr/>
              <p:nvPr/>
            </p:nvGrpSpPr>
            <p:grpSpPr>
              <a:xfrm>
                <a:off x="406712" y="1930408"/>
                <a:ext cx="2167941" cy="2167941"/>
                <a:chOff x="760408" y="1286587"/>
                <a:chExt cx="2167941" cy="2167941"/>
              </a:xfrm>
            </p:grpSpPr>
            <p:sp>
              <p:nvSpPr>
                <p:cNvPr id="67" name="타원 66"/>
                <p:cNvSpPr/>
                <p:nvPr/>
              </p:nvSpPr>
              <p:spPr>
                <a:xfrm>
                  <a:off x="760408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51" name="그림 50"/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19808" t="11565" r="19808" b="9251"/>
                <a:stretch/>
              </p:blipFill>
              <p:spPr>
                <a:xfrm>
                  <a:off x="1033400" y="1660727"/>
                  <a:ext cx="1621958" cy="1419662"/>
                </a:xfrm>
                <a:prstGeom prst="rect">
                  <a:avLst/>
                </a:prstGeom>
              </p:spPr>
            </p:pic>
          </p:grp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A1DD03C-27E0-4F13-C208-34CFF4A2D51B}"/>
                  </a:ext>
                </a:extLst>
              </p:cNvPr>
              <p:cNvSpPr txBox="1"/>
              <p:nvPr/>
            </p:nvSpPr>
            <p:spPr>
              <a:xfrm>
                <a:off x="626236" y="1213583"/>
                <a:ext cx="172889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인구 유입 중</a:t>
                </a:r>
              </a:p>
            </p:txBody>
          </p:sp>
        </p:grp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E24E155B-4056-CCAA-357B-94E61D3130B2}"/>
              </a:ext>
            </a:extLst>
          </p:cNvPr>
          <p:cNvGrpSpPr/>
          <p:nvPr/>
        </p:nvGrpSpPr>
        <p:grpSpPr>
          <a:xfrm>
            <a:off x="9428517" y="1031305"/>
            <a:ext cx="2520000" cy="5672423"/>
            <a:chOff x="9408368" y="1031305"/>
            <a:chExt cx="2520000" cy="5672423"/>
          </a:xfrm>
        </p:grpSpPr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B1BEC00B-7816-4CE8-AAF1-2D29E6AC5273}"/>
                </a:ext>
              </a:extLst>
            </p:cNvPr>
            <p:cNvSpPr/>
            <p:nvPr/>
          </p:nvSpPr>
          <p:spPr>
            <a:xfrm>
              <a:off x="9408368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D97756B-0FB2-EAE7-B9E4-216BAFBC08FE}"/>
                </a:ext>
              </a:extLst>
            </p:cNvPr>
            <p:cNvGrpSpPr/>
            <p:nvPr/>
          </p:nvGrpSpPr>
          <p:grpSpPr>
            <a:xfrm>
              <a:off x="9584398" y="1213583"/>
              <a:ext cx="2167941" cy="5307866"/>
              <a:chOff x="9544683" y="857438"/>
              <a:chExt cx="2167941" cy="5307866"/>
            </a:xfrm>
          </p:grpSpPr>
          <p:grpSp>
            <p:nvGrpSpPr>
              <p:cNvPr id="70" name="그룹 69">
                <a:extLst>
                  <a:ext uri="{FF2B5EF4-FFF2-40B4-BE49-F238E27FC236}">
                    <a16:creationId xmlns:a16="http://schemas.microsoft.com/office/drawing/2014/main" id="{F92AB505-1E87-5E33-9A17-9526D2B20D6C}"/>
                  </a:ext>
                </a:extLst>
              </p:cNvPr>
              <p:cNvGrpSpPr/>
              <p:nvPr/>
            </p:nvGrpSpPr>
            <p:grpSpPr>
              <a:xfrm>
                <a:off x="9544683" y="1574263"/>
                <a:ext cx="2167941" cy="2167941"/>
                <a:chOff x="6429236" y="1286587"/>
                <a:chExt cx="2167941" cy="2167941"/>
              </a:xfrm>
            </p:grpSpPr>
            <p:sp>
              <p:nvSpPr>
                <p:cNvPr id="3" name="타원 2">
                  <a:extLst>
                    <a:ext uri="{FF2B5EF4-FFF2-40B4-BE49-F238E27FC236}">
                      <a16:creationId xmlns:a16="http://schemas.microsoft.com/office/drawing/2014/main" id="{3430AED5-320C-79C1-EF26-495CCD4B5994}"/>
                    </a:ext>
                  </a:extLst>
                </p:cNvPr>
                <p:cNvSpPr/>
                <p:nvPr/>
              </p:nvSpPr>
              <p:spPr>
                <a:xfrm>
                  <a:off x="6429236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6" name="Picture 2">
                  <a:extLst>
                    <a:ext uri="{FF2B5EF4-FFF2-40B4-BE49-F238E27FC236}">
                      <a16:creationId xmlns:a16="http://schemas.microsoft.com/office/drawing/2014/main" id="{DB1B446A-0C68-7CA3-693B-B88F319032E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04918" y="1643872"/>
                  <a:ext cx="1416577" cy="14533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9" name="그룹 68">
                <a:extLst>
                  <a:ext uri="{FF2B5EF4-FFF2-40B4-BE49-F238E27FC236}">
                    <a16:creationId xmlns:a16="http://schemas.microsoft.com/office/drawing/2014/main" id="{746B6C19-DF67-00B1-40F8-7798456177CB}"/>
                  </a:ext>
                </a:extLst>
              </p:cNvPr>
              <p:cNvGrpSpPr/>
              <p:nvPr/>
            </p:nvGrpSpPr>
            <p:grpSpPr>
              <a:xfrm>
                <a:off x="9544683" y="3997363"/>
                <a:ext cx="2167941" cy="2167941"/>
                <a:chOff x="9263651" y="1286587"/>
                <a:chExt cx="2167941" cy="2167941"/>
              </a:xfrm>
            </p:grpSpPr>
            <p:sp>
              <p:nvSpPr>
                <p:cNvPr id="4" name="타원 3">
                  <a:extLst>
                    <a:ext uri="{FF2B5EF4-FFF2-40B4-BE49-F238E27FC236}">
                      <a16:creationId xmlns:a16="http://schemas.microsoft.com/office/drawing/2014/main" id="{F5D33081-CDEB-68C2-6AFA-BA4ED291D33A}"/>
                    </a:ext>
                  </a:extLst>
                </p:cNvPr>
                <p:cNvSpPr/>
                <p:nvPr/>
              </p:nvSpPr>
              <p:spPr>
                <a:xfrm>
                  <a:off x="9263651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8" name="Picture 4" descr="충청북도 로고 AI 일러스트 파일 다운">
                  <a:extLst>
                    <a:ext uri="{FF2B5EF4-FFF2-40B4-BE49-F238E27FC236}">
                      <a16:creationId xmlns:a16="http://schemas.microsoft.com/office/drawing/2014/main" id="{BC7ACE93-E2E9-1B8B-D7ED-1C6EFC72B2F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415" t="21121" r="21474" b="18078"/>
                <a:stretch/>
              </p:blipFill>
              <p:spPr bwMode="auto">
                <a:xfrm>
                  <a:off x="9680927" y="1635042"/>
                  <a:ext cx="1333391" cy="147103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5DAED7C-7E97-1F88-6A4C-39E3F4949CB1}"/>
                  </a:ext>
                </a:extLst>
              </p:cNvPr>
              <p:cNvSpPr txBox="1"/>
              <p:nvPr/>
            </p:nvSpPr>
            <p:spPr>
              <a:xfrm>
                <a:off x="9549813" y="857438"/>
                <a:ext cx="215768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일부 소멸 위기</a:t>
                </a:r>
              </a:p>
            </p:txBody>
          </p:sp>
        </p:grpSp>
      </p:grpSp>
      <p:pic>
        <p:nvPicPr>
          <p:cNvPr id="15" name="그림 14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732D4255-D49E-E43B-39DB-DAA8710A4A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1160890" y="3616674"/>
            <a:ext cx="3790192" cy="538012"/>
          </a:xfrm>
          <a:prstGeom prst="rect">
            <a:avLst/>
          </a:prstGeom>
        </p:spPr>
      </p:pic>
      <p:pic>
        <p:nvPicPr>
          <p:cNvPr id="16" name="그림 15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A6B7E7B2-1567-A3ED-6CBB-0F4104139B5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 flipV="1">
            <a:off x="7240918" y="3616673"/>
            <a:ext cx="3790192" cy="53801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4C21ED6-6D39-6B5A-4455-8BBC64521147}"/>
              </a:ext>
            </a:extLst>
          </p:cNvPr>
          <p:cNvSpPr txBox="1"/>
          <p:nvPr/>
        </p:nvSpPr>
        <p:spPr>
          <a:xfrm>
            <a:off x="3514504" y="3919696"/>
            <a:ext cx="516299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32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</a:t>
            </a:r>
            <a:r>
              <a:rPr lang="ko-KR" altLang="en-US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비수도권이지만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람이 몰리는 도시(세종, 대전)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와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지방소멸위기</a:t>
            </a: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도시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가 다수 속해 있어 양극화를 분석하기 적당하다 판단.</a:t>
            </a: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</a:t>
            </a:r>
            <a:endParaRPr lang="ko-KR" alt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3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3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4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38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사각형: 둥근 모서리 14">
            <a:extLst>
              <a:ext uri="{FF2B5EF4-FFF2-40B4-BE49-F238E27FC236}">
                <a16:creationId xmlns:a16="http://schemas.microsoft.com/office/drawing/2014/main" id="{99F503C4-5316-C35C-94D0-CE8FA4035C26}"/>
              </a:ext>
            </a:extLst>
          </p:cNvPr>
          <p:cNvSpPr/>
          <p:nvPr/>
        </p:nvSpPr>
        <p:spPr>
          <a:xfrm>
            <a:off x="256812" y="620687"/>
            <a:ext cx="11678376" cy="1406533"/>
          </a:xfrm>
          <a:prstGeom prst="roundRect">
            <a:avLst>
              <a:gd name="adj" fmla="val 9284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753830" y="692055"/>
            <a:ext cx="6684340" cy="1263797"/>
          </a:xfrm>
        </p:spPr>
        <p:txBody>
          <a:bodyPr anchor="ctr">
            <a:normAutofit fontScale="85000" lnSpcReduction="10000"/>
          </a:bodyPr>
          <a:lstStyle/>
          <a:p>
            <a:pPr marL="0" indent="0" algn="ctr">
              <a:buNone/>
            </a:pPr>
            <a:r>
              <a:rPr lang="ko-KR" altLang="en-US" sz="4000" b="1" dirty="0"/>
              <a:t>도시 양극화를 어떻게 분석할까</a:t>
            </a:r>
            <a:r>
              <a:rPr lang="en-US" altLang="ko-KR" sz="4000" b="1" dirty="0"/>
              <a:t>? </a:t>
            </a:r>
            <a:endParaRPr lang="en-US" altLang="ko-KR" sz="4000" b="1" dirty="0" smtClean="0"/>
          </a:p>
          <a:p>
            <a:pPr marL="0" indent="0" algn="ctr">
              <a:buNone/>
            </a:pPr>
            <a:r>
              <a:rPr lang="ko-KR" altLang="en-US" sz="3200" b="1" dirty="0" smtClean="0"/>
              <a:t>역시</a:t>
            </a:r>
            <a:r>
              <a:rPr lang="en-US" altLang="ko-KR" sz="3200" b="1" dirty="0"/>
              <a:t>…        GPT</a:t>
            </a:r>
            <a:r>
              <a:rPr lang="ko-KR" altLang="en-US" sz="3200" b="1" dirty="0"/>
              <a:t>에게 </a:t>
            </a:r>
            <a:r>
              <a:rPr lang="ko-KR" altLang="en-US" sz="3200" b="1" dirty="0" smtClean="0"/>
              <a:t>물어봤다</a:t>
            </a:r>
            <a:r>
              <a:rPr lang="en-US" altLang="ko-KR" sz="3200" b="1" dirty="0"/>
              <a:t>!</a:t>
            </a:r>
            <a:r>
              <a:rPr lang="ko-KR" altLang="en-US" sz="3200" b="1" dirty="0"/>
              <a:t> </a:t>
            </a:r>
            <a:endParaRPr lang="ko-KR" altLang="en-US" sz="4000" b="1" dirty="0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3" y="154272"/>
            <a:ext cx="4169993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How?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2">
              <a:lumMod val="50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사각형: 둥근 모서리 13">
            <a:extLst>
              <a:ext uri="{FF2B5EF4-FFF2-40B4-BE49-F238E27FC236}">
                <a16:creationId xmlns:a16="http://schemas.microsoft.com/office/drawing/2014/main" id="{D186AE9B-7B5C-0592-3E49-839CB1B17D0E}"/>
              </a:ext>
            </a:extLst>
          </p:cNvPr>
          <p:cNvSpPr/>
          <p:nvPr/>
        </p:nvSpPr>
        <p:spPr>
          <a:xfrm>
            <a:off x="4331804" y="2811348"/>
            <a:ext cx="352839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텍스트 개체 틀 11">
            <a:extLst>
              <a:ext uri="{FF2B5EF4-FFF2-40B4-BE49-F238E27FC236}">
                <a16:creationId xmlns:a16="http://schemas.microsoft.com/office/drawing/2014/main" id="{D9BDBEE3-791A-3AEC-2C3B-7FE27CCC071A}"/>
              </a:ext>
            </a:extLst>
          </p:cNvPr>
          <p:cNvSpPr txBox="1">
            <a:spLocks/>
          </p:cNvSpPr>
          <p:nvPr/>
        </p:nvSpPr>
        <p:spPr>
          <a:xfrm>
            <a:off x="5389951" y="2368252"/>
            <a:ext cx="1666946" cy="36237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u="sng" dirty="0">
                <a:solidFill>
                  <a:schemeClr val="bg1">
                    <a:lumMod val="95000"/>
                  </a:schemeClr>
                </a:solidFill>
              </a:rPr>
              <a:t>사회적 격차</a:t>
            </a:r>
          </a:p>
        </p:txBody>
      </p:sp>
      <p:sp>
        <p:nvSpPr>
          <p:cNvPr id="27" name="사각형: 둥근 모서리 14">
            <a:extLst>
              <a:ext uri="{FF2B5EF4-FFF2-40B4-BE49-F238E27FC236}">
                <a16:creationId xmlns:a16="http://schemas.microsoft.com/office/drawing/2014/main" id="{F5AF9669-690B-EFAA-F5BC-0C3C7EB624DE}"/>
              </a:ext>
            </a:extLst>
          </p:cNvPr>
          <p:cNvSpPr/>
          <p:nvPr/>
        </p:nvSpPr>
        <p:spPr>
          <a:xfrm>
            <a:off x="8148228" y="2811348"/>
            <a:ext cx="352839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텍스트 개체 틀 11">
            <a:extLst>
              <a:ext uri="{FF2B5EF4-FFF2-40B4-BE49-F238E27FC236}">
                <a16:creationId xmlns:a16="http://schemas.microsoft.com/office/drawing/2014/main" id="{E0C70963-EECD-44A6-3350-F4A2BBB37AEB}"/>
              </a:ext>
            </a:extLst>
          </p:cNvPr>
          <p:cNvSpPr txBox="1">
            <a:spLocks/>
          </p:cNvSpPr>
          <p:nvPr/>
        </p:nvSpPr>
        <p:spPr>
          <a:xfrm>
            <a:off x="9235925" y="2368252"/>
            <a:ext cx="1552270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u="sng" dirty="0">
                <a:solidFill>
                  <a:schemeClr val="bg1">
                    <a:lumMod val="95000"/>
                  </a:schemeClr>
                </a:solidFill>
              </a:rPr>
              <a:t>공간적 격차</a:t>
            </a:r>
          </a:p>
        </p:txBody>
      </p:sp>
      <p:sp>
        <p:nvSpPr>
          <p:cNvPr id="31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515380" y="2811348"/>
            <a:ext cx="352839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1560534" y="2368252"/>
            <a:ext cx="1552271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u="sng" dirty="0">
                <a:solidFill>
                  <a:schemeClr val="bg1">
                    <a:lumMod val="95000"/>
                  </a:schemeClr>
                </a:solidFill>
              </a:rPr>
              <a:t>경제적 격차</a:t>
            </a:r>
          </a:p>
        </p:txBody>
      </p:sp>
      <p:pic>
        <p:nvPicPr>
          <p:cNvPr id="88" name="그림 87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CE0D49CD-F1CF-DF5A-5325-8B80F14B25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924316" y="2027220"/>
            <a:ext cx="4343368" cy="353498"/>
          </a:xfrm>
          <a:prstGeom prst="rect">
            <a:avLst/>
          </a:prstGeom>
        </p:spPr>
      </p:pic>
      <p:pic>
        <p:nvPicPr>
          <p:cNvPr id="89" name="Picture 2">
            <a:extLst>
              <a:ext uri="{FF2B5EF4-FFF2-40B4-BE49-F238E27FC236}">
                <a16:creationId xmlns:a16="http://schemas.microsoft.com/office/drawing/2014/main" id="{E2F5CAF8-9171-0BC2-8C0A-E46BC33EB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0" t="5851" r="22570" b="5851"/>
          <a:stretch/>
        </p:blipFill>
        <p:spPr bwMode="auto">
          <a:xfrm>
            <a:off x="5015880" y="1279163"/>
            <a:ext cx="539756" cy="54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A251D619-B138-FF2F-BDF1-8DF8BEDEF3DF}"/>
              </a:ext>
            </a:extLst>
          </p:cNvPr>
          <p:cNvSpPr txBox="1"/>
          <p:nvPr/>
        </p:nvSpPr>
        <p:spPr>
          <a:xfrm>
            <a:off x="576764" y="3584377"/>
            <a:ext cx="3405624" cy="2198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부유한 지역과 빈곤한 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200000"/>
              </a:lnSpc>
            </a:pP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 간의 소득 차이, 고용 기회, 경제적 자원의 불균형</a:t>
            </a:r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  <a:endParaRPr lang="ko-KR" altLang="en-US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78B9326-551E-1CA0-A5D0-BB6DF5DDA02D}"/>
              </a:ext>
            </a:extLst>
          </p:cNvPr>
          <p:cNvSpPr txBox="1"/>
          <p:nvPr/>
        </p:nvSpPr>
        <p:spPr>
          <a:xfrm>
            <a:off x="4624747" y="3584377"/>
            <a:ext cx="2942507" cy="219835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lnSpc>
                <a:spcPct val="200000"/>
              </a:lnSpc>
              <a:defRPr sz="24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 algn="ctr"/>
            <a:r>
              <a:rPr lang="en-US" altLang="ko-KR" dirty="0"/>
              <a:t>“</a:t>
            </a:r>
            <a:r>
              <a:rPr lang="ko-KR" altLang="en-US" dirty="0"/>
              <a:t>교육, 보건, 안전, 생활 수준 등 사회적 자원의 접근성 차이</a:t>
            </a:r>
            <a:r>
              <a:rPr lang="en-US" altLang="ko-KR" dirty="0"/>
              <a:t>”</a:t>
            </a:r>
            <a:endParaRPr lang="ko-KR" altLang="en-US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C7608DF-D7C9-2901-D0A5-E067703C9EF9}"/>
              </a:ext>
            </a:extLst>
          </p:cNvPr>
          <p:cNvSpPr txBox="1"/>
          <p:nvPr/>
        </p:nvSpPr>
        <p:spPr>
          <a:xfrm>
            <a:off x="8358941" y="3584759"/>
            <a:ext cx="3106965" cy="219835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lnSpc>
                <a:spcPct val="200000"/>
              </a:lnSpc>
              <a:defRPr sz="24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“</a:t>
            </a:r>
            <a:r>
              <a:rPr lang="ko-KR" altLang="en-US" dirty="0"/>
              <a:t>주거지, 상업지구, 공공 인프라의 분포 불균형 및 도시 계획의 차별</a:t>
            </a:r>
            <a:r>
              <a:rPr lang="en-US" altLang="ko-KR" dirty="0"/>
              <a:t>”</a:t>
            </a:r>
            <a:endParaRPr lang="ko-KR" altLang="en-US" dirty="0"/>
          </a:p>
        </p:txBody>
      </p:sp>
      <p:grpSp>
        <p:nvGrpSpPr>
          <p:cNvPr id="23" name="그룹 2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209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사각형: 둥근 모서리 14">
            <a:extLst>
              <a:ext uri="{FF2B5EF4-FFF2-40B4-BE49-F238E27FC236}">
                <a16:creationId xmlns:a16="http://schemas.microsoft.com/office/drawing/2014/main" id="{43BAD3AD-93B1-1DCB-B2C5-5B75EA02940E}"/>
              </a:ext>
            </a:extLst>
          </p:cNvPr>
          <p:cNvSpPr/>
          <p:nvPr/>
        </p:nvSpPr>
        <p:spPr>
          <a:xfrm>
            <a:off x="5087888" y="1268760"/>
            <a:ext cx="6796137" cy="5184577"/>
          </a:xfrm>
          <a:prstGeom prst="roundRect">
            <a:avLst>
              <a:gd name="adj" fmla="val 3557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842273" y="692696"/>
            <a:ext cx="2322320" cy="531284"/>
          </a:xfrm>
        </p:spPr>
        <p:txBody>
          <a:bodyPr/>
          <a:lstStyle/>
          <a:p>
            <a:pPr algn="ctr"/>
            <a:r>
              <a:rPr lang="ko-KR" altLang="en-US" sz="2400" b="1" u="sng" dirty="0"/>
              <a:t>통계 자료</a:t>
            </a: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How?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4" name="텍스트 개체 틀 7">
            <a:extLst>
              <a:ext uri="{FF2B5EF4-FFF2-40B4-BE49-F238E27FC236}">
                <a16:creationId xmlns:a16="http://schemas.microsoft.com/office/drawing/2014/main" id="{E39A6F26-56A3-3E92-3B78-866D9AC3EDBF}"/>
              </a:ext>
            </a:extLst>
          </p:cNvPr>
          <p:cNvSpPr txBox="1">
            <a:spLocks/>
          </p:cNvSpPr>
          <p:nvPr/>
        </p:nvSpPr>
        <p:spPr>
          <a:xfrm>
            <a:off x="7944267" y="692696"/>
            <a:ext cx="1083379" cy="53128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400" b="1" u="sng" dirty="0"/>
              <a:t>결론</a:t>
            </a:r>
          </a:p>
        </p:txBody>
      </p: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3AD6ECE1-054A-BF74-E177-0E0011BFE024}"/>
              </a:ext>
            </a:extLst>
          </p:cNvPr>
          <p:cNvGrpSpPr/>
          <p:nvPr/>
        </p:nvGrpSpPr>
        <p:grpSpPr>
          <a:xfrm>
            <a:off x="307975" y="1268760"/>
            <a:ext cx="3390916" cy="5184577"/>
            <a:chOff x="307975" y="1268760"/>
            <a:chExt cx="3390916" cy="5184577"/>
          </a:xfrm>
        </p:grpSpPr>
        <p:sp>
          <p:nvSpPr>
            <p:cNvPr id="87" name="사각형: 둥근 모서리 14">
              <a:extLst>
                <a:ext uri="{FF2B5EF4-FFF2-40B4-BE49-F238E27FC236}">
                  <a16:creationId xmlns:a16="http://schemas.microsoft.com/office/drawing/2014/main" id="{99F503C4-5316-C35C-94D0-CE8FA4035C26}"/>
                </a:ext>
              </a:extLst>
            </p:cNvPr>
            <p:cNvSpPr/>
            <p:nvPr/>
          </p:nvSpPr>
          <p:spPr>
            <a:xfrm>
              <a:off x="307975" y="1268760"/>
              <a:ext cx="3390916" cy="5184577"/>
            </a:xfrm>
            <a:prstGeom prst="roundRect">
              <a:avLst>
                <a:gd name="adj" fmla="val 6257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F97370D6-3BA9-595E-B206-4CF127BD143C}"/>
                </a:ext>
              </a:extLst>
            </p:cNvPr>
            <p:cNvGrpSpPr/>
            <p:nvPr/>
          </p:nvGrpSpPr>
          <p:grpSpPr>
            <a:xfrm>
              <a:off x="557007" y="1646802"/>
              <a:ext cx="2892853" cy="4428492"/>
              <a:chOff x="587516" y="1628800"/>
              <a:chExt cx="2892853" cy="4428492"/>
            </a:xfrm>
          </p:grpSpPr>
          <p:grpSp>
            <p:nvGrpSpPr>
              <p:cNvPr id="14" name="그룹 13">
                <a:extLst>
                  <a:ext uri="{FF2B5EF4-FFF2-40B4-BE49-F238E27FC236}">
                    <a16:creationId xmlns:a16="http://schemas.microsoft.com/office/drawing/2014/main" id="{582EB52E-8517-EE3F-136A-9170EF89C087}"/>
                  </a:ext>
                </a:extLst>
              </p:cNvPr>
              <p:cNvGrpSpPr/>
              <p:nvPr/>
            </p:nvGrpSpPr>
            <p:grpSpPr>
              <a:xfrm>
                <a:off x="587516" y="1628800"/>
                <a:ext cx="2892853" cy="936104"/>
                <a:chOff x="610859" y="1628800"/>
                <a:chExt cx="2892853" cy="936104"/>
              </a:xfrm>
            </p:grpSpPr>
            <p:sp>
              <p:nvSpPr>
                <p:cNvPr id="11" name="사각형: 둥근 모서리 10">
                  <a:extLst>
                    <a:ext uri="{FF2B5EF4-FFF2-40B4-BE49-F238E27FC236}">
                      <a16:creationId xmlns:a16="http://schemas.microsoft.com/office/drawing/2014/main" id="{CC3E1F0D-9E25-EFA4-0A7E-7A2AFA2E1728}"/>
                    </a:ext>
                  </a:extLst>
                </p:cNvPr>
                <p:cNvSpPr/>
                <p:nvPr/>
              </p:nvSpPr>
              <p:spPr>
                <a:xfrm>
                  <a:off x="610859" y="1628800"/>
                  <a:ext cx="2892853" cy="936104"/>
                </a:xfrm>
                <a:prstGeom prst="roundRect">
                  <a:avLst>
                    <a:gd name="adj" fmla="val 10480"/>
                  </a:avLst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C42666E1-E344-58CD-70AB-FE8347933E7E}"/>
                    </a:ext>
                  </a:extLst>
                </p:cNvPr>
                <p:cNvSpPr txBox="1"/>
                <p:nvPr/>
              </p:nvSpPr>
              <p:spPr>
                <a:xfrm>
                  <a:off x="785702" y="1866020"/>
                  <a:ext cx="2543166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4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생산가능 인구비율</a:t>
                  </a:r>
                </a:p>
              </p:txBody>
            </p:sp>
          </p:grpSp>
          <p:grpSp>
            <p:nvGrpSpPr>
              <p:cNvPr id="26" name="그룹 25">
                <a:extLst>
                  <a:ext uri="{FF2B5EF4-FFF2-40B4-BE49-F238E27FC236}">
                    <a16:creationId xmlns:a16="http://schemas.microsoft.com/office/drawing/2014/main" id="{A03093EC-01A0-2710-212F-B8CC9F211A26}"/>
                  </a:ext>
                </a:extLst>
              </p:cNvPr>
              <p:cNvGrpSpPr/>
              <p:nvPr/>
            </p:nvGrpSpPr>
            <p:grpSpPr>
              <a:xfrm>
                <a:off x="587516" y="2792929"/>
                <a:ext cx="2892853" cy="936104"/>
                <a:chOff x="618025" y="2806909"/>
                <a:chExt cx="2892853" cy="936104"/>
              </a:xfrm>
            </p:grpSpPr>
            <p:sp>
              <p:nvSpPr>
                <p:cNvPr id="16" name="사각형: 둥근 모서리 15">
                  <a:extLst>
                    <a:ext uri="{FF2B5EF4-FFF2-40B4-BE49-F238E27FC236}">
                      <a16:creationId xmlns:a16="http://schemas.microsoft.com/office/drawing/2014/main" id="{B16348EB-CE99-4A8B-1CDA-EE9B3E3E1675}"/>
                    </a:ext>
                  </a:extLst>
                </p:cNvPr>
                <p:cNvSpPr/>
                <p:nvPr/>
              </p:nvSpPr>
              <p:spPr>
                <a:xfrm>
                  <a:off x="618025" y="2806909"/>
                  <a:ext cx="2892853" cy="936104"/>
                </a:xfrm>
                <a:prstGeom prst="roundRect">
                  <a:avLst>
                    <a:gd name="adj" fmla="val 10480"/>
                  </a:avLst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B38A9B68-E85E-DA5E-92EA-6338D58D8E25}"/>
                    </a:ext>
                  </a:extLst>
                </p:cNvPr>
                <p:cNvSpPr txBox="1"/>
                <p:nvPr/>
              </p:nvSpPr>
              <p:spPr>
                <a:xfrm>
                  <a:off x="792868" y="3044129"/>
                  <a:ext cx="2543166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400" b="1" dirty="0" err="1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범죄율</a:t>
                  </a:r>
                  <a:endParaRPr lang="ko-KR" altLang="en-US" sz="2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24" name="그룹 23">
                <a:extLst>
                  <a:ext uri="{FF2B5EF4-FFF2-40B4-BE49-F238E27FC236}">
                    <a16:creationId xmlns:a16="http://schemas.microsoft.com/office/drawing/2014/main" id="{852CD4FB-FEA1-F4CC-C17A-A9AD9008F3CD}"/>
                  </a:ext>
                </a:extLst>
              </p:cNvPr>
              <p:cNvGrpSpPr/>
              <p:nvPr/>
            </p:nvGrpSpPr>
            <p:grpSpPr>
              <a:xfrm>
                <a:off x="587516" y="3957058"/>
                <a:ext cx="2892853" cy="936104"/>
                <a:chOff x="557006" y="3861048"/>
                <a:chExt cx="2892853" cy="936104"/>
              </a:xfrm>
            </p:grpSpPr>
            <p:sp>
              <p:nvSpPr>
                <p:cNvPr id="19" name="사각형: 둥근 모서리 18">
                  <a:extLst>
                    <a:ext uri="{FF2B5EF4-FFF2-40B4-BE49-F238E27FC236}">
                      <a16:creationId xmlns:a16="http://schemas.microsoft.com/office/drawing/2014/main" id="{BDEBA6C0-BCCE-455F-26BD-2BC5511B0D12}"/>
                    </a:ext>
                  </a:extLst>
                </p:cNvPr>
                <p:cNvSpPr/>
                <p:nvPr/>
              </p:nvSpPr>
              <p:spPr>
                <a:xfrm>
                  <a:off x="557006" y="3861048"/>
                  <a:ext cx="2892853" cy="936104"/>
                </a:xfrm>
                <a:prstGeom prst="roundRect">
                  <a:avLst>
                    <a:gd name="adj" fmla="val 10480"/>
                  </a:avLst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AF149D6C-CEF4-62DE-2A12-91A0AF21AF64}"/>
                    </a:ext>
                  </a:extLst>
                </p:cNvPr>
                <p:cNvSpPr txBox="1"/>
                <p:nvPr/>
              </p:nvSpPr>
              <p:spPr>
                <a:xfrm>
                  <a:off x="731849" y="3913602"/>
                  <a:ext cx="2543166" cy="83099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4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아파트 매매 </a:t>
                  </a:r>
                  <a:endParaRPr lang="en-US" altLang="ko-KR" sz="2400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 algn="ctr"/>
                  <a:r>
                    <a:rPr lang="ko-KR" altLang="en-US" sz="2400" b="1" dirty="0" err="1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실거래</a:t>
                  </a:r>
                  <a:r>
                    <a:rPr lang="ko-KR" altLang="en-US" sz="24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 가격지수</a:t>
                  </a:r>
                </a:p>
              </p:txBody>
            </p:sp>
          </p:grpSp>
          <p:grpSp>
            <p:nvGrpSpPr>
              <p:cNvPr id="25" name="그룹 24">
                <a:extLst>
                  <a:ext uri="{FF2B5EF4-FFF2-40B4-BE49-F238E27FC236}">
                    <a16:creationId xmlns:a16="http://schemas.microsoft.com/office/drawing/2014/main" id="{F2906572-44C9-44AF-2DEB-9BAC0CC5DA95}"/>
                  </a:ext>
                </a:extLst>
              </p:cNvPr>
              <p:cNvGrpSpPr/>
              <p:nvPr/>
            </p:nvGrpSpPr>
            <p:grpSpPr>
              <a:xfrm>
                <a:off x="587516" y="5121188"/>
                <a:ext cx="2892853" cy="936104"/>
                <a:chOff x="598417" y="5121188"/>
                <a:chExt cx="2892853" cy="936104"/>
              </a:xfrm>
            </p:grpSpPr>
            <p:sp>
              <p:nvSpPr>
                <p:cNvPr id="22" name="사각형: 둥근 모서리 21">
                  <a:extLst>
                    <a:ext uri="{FF2B5EF4-FFF2-40B4-BE49-F238E27FC236}">
                      <a16:creationId xmlns:a16="http://schemas.microsoft.com/office/drawing/2014/main" id="{0D484021-08FF-1499-F065-6A105EB14752}"/>
                    </a:ext>
                  </a:extLst>
                </p:cNvPr>
                <p:cNvSpPr/>
                <p:nvPr/>
              </p:nvSpPr>
              <p:spPr>
                <a:xfrm>
                  <a:off x="598417" y="5121188"/>
                  <a:ext cx="2892853" cy="936104"/>
                </a:xfrm>
                <a:prstGeom prst="roundRect">
                  <a:avLst>
                    <a:gd name="adj" fmla="val 10480"/>
                  </a:avLst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15">
                    <a:solidFill>
                      <a:srgbClr val="00000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endParaRP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151CD4E6-4C7D-0DE5-5AA8-92BB8997207F}"/>
                    </a:ext>
                  </a:extLst>
                </p:cNvPr>
                <p:cNvSpPr txBox="1"/>
                <p:nvPr/>
              </p:nvSpPr>
              <p:spPr>
                <a:xfrm>
                  <a:off x="773260" y="5358408"/>
                  <a:ext cx="2543166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4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월평균 소득 분포</a:t>
                  </a:r>
                </a:p>
              </p:txBody>
            </p:sp>
          </p:grpSp>
        </p:grpSp>
      </p:grp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AEB803EF-57C4-07C3-CF6C-D851F415299B}"/>
              </a:ext>
            </a:extLst>
          </p:cNvPr>
          <p:cNvGrpSpPr/>
          <p:nvPr/>
        </p:nvGrpSpPr>
        <p:grpSpPr>
          <a:xfrm>
            <a:off x="5226734" y="1646802"/>
            <a:ext cx="6518445" cy="4428492"/>
            <a:chOff x="5194179" y="1628800"/>
            <a:chExt cx="6518445" cy="4428492"/>
          </a:xfrm>
        </p:grpSpPr>
        <p:sp>
          <p:nvSpPr>
            <p:cNvPr id="36" name="사각형: 둥근 모서리 35">
              <a:extLst>
                <a:ext uri="{FF2B5EF4-FFF2-40B4-BE49-F238E27FC236}">
                  <a16:creationId xmlns:a16="http://schemas.microsoft.com/office/drawing/2014/main" id="{FC1F9D8D-68EE-5131-9AF1-6081C3DB591D}"/>
                </a:ext>
              </a:extLst>
            </p:cNvPr>
            <p:cNvSpPr/>
            <p:nvPr/>
          </p:nvSpPr>
          <p:spPr>
            <a:xfrm>
              <a:off x="5194179" y="1628800"/>
              <a:ext cx="6518445" cy="4428492"/>
            </a:xfrm>
            <a:prstGeom prst="roundRect">
              <a:avLst>
                <a:gd name="adj" fmla="val 5001"/>
              </a:avLst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BFBB10A-B605-EF6D-5CEE-65F4E519943E}"/>
                </a:ext>
              </a:extLst>
            </p:cNvPr>
            <p:cNvSpPr txBox="1"/>
            <p:nvPr/>
          </p:nvSpPr>
          <p:spPr>
            <a:xfrm>
              <a:off x="5461177" y="2005203"/>
              <a:ext cx="5984449" cy="36756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2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pPr algn="just">
                <a:lnSpc>
                  <a:spcPct val="200000"/>
                </a:lnSpc>
              </a:pPr>
              <a:r>
                <a:rPr lang="ko-KR" altLang="en-US" b="1" u="sng" dirty="0"/>
                <a:t>생산가능 인구비율, </a:t>
              </a:r>
              <a:r>
                <a:rPr lang="ko-KR" altLang="en-US" b="1" u="sng" dirty="0" err="1"/>
                <a:t>아파트매매실거래</a:t>
              </a:r>
              <a:r>
                <a:rPr lang="ko-KR" altLang="en-US" b="1" u="sng" dirty="0"/>
                <a:t> 가격지수, 월평균 소득 분포</a:t>
              </a:r>
              <a:r>
                <a:rPr lang="ko-KR" altLang="en-US" dirty="0"/>
                <a:t>를 봤을 때 양극화를 잘 보여준다는 것을 알 수 있음</a:t>
              </a:r>
              <a:endParaRPr lang="en-US" altLang="ko-KR" dirty="0"/>
            </a:p>
            <a:p>
              <a:pPr algn="just">
                <a:lnSpc>
                  <a:spcPct val="200000"/>
                </a:lnSpc>
              </a:pPr>
              <a:r>
                <a:rPr lang="ko-KR" altLang="en-US" dirty="0"/>
                <a:t>그 중에서 우리는 </a:t>
              </a:r>
              <a:r>
                <a:rPr lang="ko-KR" altLang="en-US" b="1" u="sng" dirty="0" err="1"/>
                <a:t>아파트매매실거래</a:t>
              </a:r>
              <a:r>
                <a:rPr lang="ko-KR" altLang="en-US" b="1" u="sng" dirty="0"/>
                <a:t> 가격지수</a:t>
              </a:r>
              <a:r>
                <a:rPr lang="ko-KR" altLang="en-US" dirty="0"/>
                <a:t>를 종속변수로 선택하여 예측, 분석하기로 함</a:t>
              </a:r>
            </a:p>
          </p:txBody>
        </p:sp>
      </p:grp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F4E0A6DB-0FB8-05ED-597B-F2E6FCF2B21F}"/>
              </a:ext>
            </a:extLst>
          </p:cNvPr>
          <p:cNvGrpSpPr/>
          <p:nvPr/>
        </p:nvGrpSpPr>
        <p:grpSpPr>
          <a:xfrm>
            <a:off x="3877427" y="2204864"/>
            <a:ext cx="1012092" cy="2064674"/>
            <a:chOff x="3877427" y="2204864"/>
            <a:chExt cx="1012092" cy="2064674"/>
          </a:xfrm>
        </p:grpSpPr>
        <p:sp>
          <p:nvSpPr>
            <p:cNvPr id="34" name="오른쪽 화살표 89">
              <a:extLst>
                <a:ext uri="{FF2B5EF4-FFF2-40B4-BE49-F238E27FC236}">
                  <a16:creationId xmlns:a16="http://schemas.microsoft.com/office/drawing/2014/main" id="{55A522F7-A74E-E693-950F-9EC2FD0A29E9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3877427" y="3165280"/>
              <a:ext cx="1012092" cy="1104258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B45C2C7-E426-F269-09AE-A589E9651703}"/>
                </a:ext>
              </a:extLst>
            </p:cNvPr>
            <p:cNvSpPr txBox="1"/>
            <p:nvPr/>
          </p:nvSpPr>
          <p:spPr>
            <a:xfrm>
              <a:off x="3893223" y="2204864"/>
              <a:ext cx="980500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8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비교</a:t>
              </a:r>
              <a:endPara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28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분석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41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42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44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5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871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047135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How?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8" name="그룹 37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41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42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3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44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5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pic>
        <p:nvPicPr>
          <p:cNvPr id="46" name="그림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404" y="637940"/>
            <a:ext cx="10729192" cy="6091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143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39</TotalTime>
  <Words>2547</Words>
  <Application>Microsoft Office PowerPoint</Application>
  <PresentationFormat>와이드스크린</PresentationFormat>
  <Paragraphs>612</Paragraphs>
  <Slides>33</Slides>
  <Notes>22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3</vt:i4>
      </vt:variant>
    </vt:vector>
  </HeadingPairs>
  <TitlesOfParts>
    <vt:vector size="39" baseType="lpstr"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OSP</cp:lastModifiedBy>
  <cp:revision>7165</cp:revision>
  <dcterms:created xsi:type="dcterms:W3CDTF">2023-11-03T22:38:30Z</dcterms:created>
  <dcterms:modified xsi:type="dcterms:W3CDTF">2024-06-28T07:19:06Z</dcterms:modified>
</cp:coreProperties>
</file>